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828" r:id="rId2"/>
  </p:sldMasterIdLst>
  <p:notesMasterIdLst>
    <p:notesMasterId r:id="rId6"/>
  </p:notesMasterIdLst>
  <p:sldIdLst>
    <p:sldId id="1914" r:id="rId3"/>
    <p:sldId id="359" r:id="rId4"/>
    <p:sldId id="338" r:id="rId5"/>
  </p:sldIdLst>
  <p:sldSz cx="18288000" cy="10287000"/>
  <p:notesSz cx="6858000" cy="9144000"/>
  <p:embeddedFontLst>
    <p:embeddedFont>
      <p:font typeface="Libre Franklin" pitchFamily="2" charset="0"/>
      <p:regular r:id="rId7"/>
      <p:bold r:id="rId8"/>
      <p:italic r:id="rId9"/>
      <p:boldItalic r:id="rId10"/>
    </p:embeddedFont>
    <p:embeddedFont>
      <p:font typeface="Open Sans" panose="020B0606030504020204" pitchFamily="34" charset="0"/>
      <p:regular r:id="rId11"/>
      <p:bold r:id="rId12"/>
      <p:italic r:id="rId13"/>
      <p:boldItalic r:id="rId14"/>
    </p:embeddedFont>
    <p:embeddedFont>
      <p:font typeface="Poppins ExtraBold" panose="00000900000000000000" pitchFamily="2" charset="0"/>
      <p:bold r:id="rId15"/>
      <p:boldItalic r:id="rId16"/>
    </p:embeddedFont>
    <p:embeddedFont>
      <p:font typeface="Raleway Black" pitchFamily="2" charset="0"/>
      <p:bold r:id="rId17"/>
      <p:boldItalic r:id="rId18"/>
    </p:embeddedFont>
    <p:embeddedFont>
      <p:font typeface="Titillium Web" panose="00000500000000000000" pitchFamily="2" charset="0"/>
      <p:regular r:id="rId19"/>
      <p:bold r:id="rId20"/>
      <p:italic r:id="rId21"/>
      <p:boldItalic r:id="rId22"/>
    </p:embeddedFont>
    <p:embeddedFont>
      <p:font typeface="Titillium Web Bold" panose="00000800000000000000" charset="0"/>
      <p:regular r:id="rId23"/>
      <p:bold r:id="rId24"/>
    </p:embeddedFont>
  </p:embeddedFont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0922F377-9988-4F37-82A8-C652F19847C6}">
          <p14:sldIdLst>
            <p14:sldId id="1914"/>
            <p14:sldId id="359"/>
            <p14:sldId id="3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0000"/>
    <a:srgbClr val="1395FB"/>
    <a:srgbClr val="023D6B"/>
    <a:srgbClr val="37AADC"/>
    <a:srgbClr val="B4C800"/>
    <a:srgbClr val="FFFFFF"/>
    <a:srgbClr val="AFDDF1"/>
    <a:srgbClr val="79F5FF"/>
    <a:srgbClr val="F9FF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8A2CAA-441D-43D1-9C6E-D95DBDCCE6F2}" v="10" dt="2025-08-26T07:31:33.9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66" autoAdjust="0"/>
    <p:restoredTop sz="87247" autoAdjust="0"/>
  </p:normalViewPr>
  <p:slideViewPr>
    <p:cSldViewPr>
      <p:cViewPr varScale="1">
        <p:scale>
          <a:sx n="73" d="100"/>
          <a:sy n="73" d="100"/>
        </p:scale>
        <p:origin x="114" y="654"/>
      </p:cViewPr>
      <p:guideLst>
        <p:guide orient="horz" pos="21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font" Target="fonts/font15.fntdata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font" Target="fonts/font18.fntdata"/><Relationship Id="rId5" Type="http://schemas.openxmlformats.org/officeDocument/2006/relationships/slide" Target="slides/slide3.xml"/><Relationship Id="rId15" Type="http://schemas.openxmlformats.org/officeDocument/2006/relationships/font" Target="fonts/font9.fntdata"/><Relationship Id="rId23" Type="http://schemas.openxmlformats.org/officeDocument/2006/relationships/font" Target="fonts/font17.fntdata"/><Relationship Id="rId28" Type="http://schemas.openxmlformats.org/officeDocument/2006/relationships/theme" Target="theme/theme1.xml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247D1286-C692-4091-8A31-A44B33DAA72B}"/>
    <pc:docChg chg="undo custSel delSld modSld delMainMaster modSection">
      <pc:chgData name="Vikesh Chugani" userId="9c759398cfaae00f" providerId="LiveId" clId="{247D1286-C692-4091-8A31-A44B33DAA72B}" dt="2024-08-22T12:54:04.977" v="2131" actId="20577"/>
      <pc:docMkLst>
        <pc:docMk/>
      </pc:docMkLst>
      <pc:sldChg chg="modNotesTx">
        <pc:chgData name="Vikesh Chugani" userId="9c759398cfaae00f" providerId="LiveId" clId="{247D1286-C692-4091-8A31-A44B33DAA72B}" dt="2024-08-21T07:42:34.090" v="2029" actId="20577"/>
        <pc:sldMkLst>
          <pc:docMk/>
          <pc:sldMk cId="0" sldId="256"/>
        </pc:sldMkLst>
      </pc:sldChg>
      <pc:sldChg chg="del">
        <pc:chgData name="Vikesh Chugani" userId="9c759398cfaae00f" providerId="LiveId" clId="{247D1286-C692-4091-8A31-A44B33DAA72B}" dt="2024-08-19T11:48:24.918" v="0" actId="47"/>
        <pc:sldMkLst>
          <pc:docMk/>
          <pc:sldMk cId="0" sldId="306"/>
        </pc:sldMkLst>
      </pc:sldChg>
      <pc:sldChg chg="modNotesTx">
        <pc:chgData name="Vikesh Chugani" userId="9c759398cfaae00f" providerId="LiveId" clId="{247D1286-C692-4091-8A31-A44B33DAA72B}" dt="2024-08-20T08:53:04.165" v="260" actId="20577"/>
        <pc:sldMkLst>
          <pc:docMk/>
          <pc:sldMk cId="0" sldId="307"/>
        </pc:sldMkLst>
      </pc:sldChg>
      <pc:sldChg chg="del">
        <pc:chgData name="Vikesh Chugani" userId="9c759398cfaae00f" providerId="LiveId" clId="{247D1286-C692-4091-8A31-A44B33DAA72B}" dt="2024-08-19T11:48:26.969" v="1" actId="47"/>
        <pc:sldMkLst>
          <pc:docMk/>
          <pc:sldMk cId="0" sldId="308"/>
        </pc:sldMkLst>
      </pc:sldChg>
      <pc:sldChg chg="modNotesTx">
        <pc:chgData name="Vikesh Chugani" userId="9c759398cfaae00f" providerId="LiveId" clId="{247D1286-C692-4091-8A31-A44B33DAA72B}" dt="2024-08-20T08:55:19.080" v="264" actId="20577"/>
        <pc:sldMkLst>
          <pc:docMk/>
          <pc:sldMk cId="0" sldId="309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0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1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0" sldId="313"/>
        </pc:sldMkLst>
      </pc:sldChg>
      <pc:sldChg chg="modSp mod">
        <pc:chgData name="Vikesh Chugani" userId="9c759398cfaae00f" providerId="LiveId" clId="{247D1286-C692-4091-8A31-A44B33DAA72B}" dt="2024-08-22T12:54:04.977" v="2131" actId="20577"/>
        <pc:sldMkLst>
          <pc:docMk/>
          <pc:sldMk cId="3126494913" sldId="319"/>
        </pc:sldMkLst>
      </pc:sldChg>
      <pc:sldChg chg="addSp delSp modSp mod">
        <pc:chgData name="Vikesh Chugani" userId="9c759398cfaae00f" providerId="LiveId" clId="{247D1286-C692-4091-8A31-A44B33DAA72B}" dt="2024-08-20T09:20:30.401" v="2027" actId="1035"/>
        <pc:sldMkLst>
          <pc:docMk/>
          <pc:sldMk cId="1775406622" sldId="359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2706074010" sldId="461"/>
        </pc:sldMkLst>
      </pc:sldChg>
      <pc:sldChg chg="modNotesTx">
        <pc:chgData name="Vikesh Chugani" userId="9c759398cfaae00f" providerId="LiveId" clId="{247D1286-C692-4091-8A31-A44B33DAA72B}" dt="2024-08-20T07:33:22.836" v="83" actId="113"/>
        <pc:sldMkLst>
          <pc:docMk/>
          <pc:sldMk cId="1997537558" sldId="514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148439823" sldId="557"/>
        </pc:sldMkLst>
      </pc:sldChg>
      <pc:sldChg chg="modSp mod">
        <pc:chgData name="Vikesh Chugani" userId="9c759398cfaae00f" providerId="LiveId" clId="{247D1286-C692-4091-8A31-A44B33DAA72B}" dt="2024-08-20T09:19:10.071" v="2021" actId="20577"/>
        <pc:sldMkLst>
          <pc:docMk/>
          <pc:sldMk cId="3399892931" sldId="568"/>
        </pc:sldMkLst>
      </pc:sldChg>
      <pc:sldChg chg="modNotesTx">
        <pc:chgData name="Vikesh Chugani" userId="9c759398cfaae00f" providerId="LiveId" clId="{247D1286-C692-4091-8A31-A44B33DAA72B}" dt="2024-08-20T07:28:52.408" v="31" actId="20577"/>
        <pc:sldMkLst>
          <pc:docMk/>
          <pc:sldMk cId="1171548870" sldId="57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92950247" sldId="144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055912385" sldId="1462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2902647541" sldId="1473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58770865" sldId="147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3213568042" sldId="1477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601220448" sldId="1478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4022447760" sldId="1690"/>
        </pc:sldMkLst>
      </pc:sldChg>
      <pc:sldChg chg="modNotesTx">
        <pc:chgData name="Vikesh Chugani" userId="9c759398cfaae00f" providerId="LiveId" clId="{247D1286-C692-4091-8A31-A44B33DAA72B}" dt="2024-08-20T09:05:41.377" v="815" actId="20577"/>
        <pc:sldMkLst>
          <pc:docMk/>
          <pc:sldMk cId="759465604" sldId="1693"/>
        </pc:sldMkLst>
      </pc:sldChg>
      <pc:sldChg chg="modNotesTx">
        <pc:chgData name="Vikesh Chugani" userId="9c759398cfaae00f" providerId="LiveId" clId="{247D1286-C692-4091-8A31-A44B33DAA72B}" dt="2024-08-20T09:11:16.656" v="1613" actId="20577"/>
        <pc:sldMkLst>
          <pc:docMk/>
          <pc:sldMk cId="2564190797" sldId="1694"/>
        </pc:sldMkLst>
      </pc:sldChg>
      <pc:sldChg chg="modNotesTx">
        <pc:chgData name="Vikesh Chugani" userId="9c759398cfaae00f" providerId="LiveId" clId="{247D1286-C692-4091-8A31-A44B33DAA72B}" dt="2024-08-20T09:12:24.237" v="1751" actId="20577"/>
        <pc:sldMkLst>
          <pc:docMk/>
          <pc:sldMk cId="3983337660" sldId="1695"/>
        </pc:sldMkLst>
      </pc:sldChg>
      <pc:sldChg chg="modNotesTx">
        <pc:chgData name="Vikesh Chugani" userId="9c759398cfaae00f" providerId="LiveId" clId="{247D1286-C692-4091-8A31-A44B33DAA72B}" dt="2024-08-20T09:07:18.159" v="1006" actId="20577"/>
        <pc:sldMkLst>
          <pc:docMk/>
          <pc:sldMk cId="2509261614" sldId="1699"/>
        </pc:sldMkLst>
      </pc:sldChg>
      <pc:sldChg chg="modNotesTx">
        <pc:chgData name="Vikesh Chugani" userId="9c759398cfaae00f" providerId="LiveId" clId="{247D1286-C692-4091-8A31-A44B33DAA72B}" dt="2024-08-21T08:26:28.820" v="2125" actId="113"/>
        <pc:sldMkLst>
          <pc:docMk/>
          <pc:sldMk cId="2964524841" sldId="1700"/>
        </pc:sldMkLst>
      </pc:sldChg>
      <pc:sldChg chg="modNotesTx">
        <pc:chgData name="Vikesh Chugani" userId="9c759398cfaae00f" providerId="LiveId" clId="{247D1286-C692-4091-8A31-A44B33DAA72B}" dt="2024-08-20T07:37:34.744" v="86" actId="20577"/>
        <pc:sldMkLst>
          <pc:docMk/>
          <pc:sldMk cId="2153535519" sldId="1856"/>
        </pc:sldMkLst>
      </pc:sldChg>
      <pc:sldChg chg="modNotesTx">
        <pc:chgData name="Vikesh Chugani" userId="9c759398cfaae00f" providerId="LiveId" clId="{247D1286-C692-4091-8A31-A44B33DAA72B}" dt="2024-08-20T07:19:17.133" v="4" actId="20577"/>
        <pc:sldMkLst>
          <pc:docMk/>
          <pc:sldMk cId="1138289792" sldId="1858"/>
        </pc:sldMkLst>
      </pc:sldChg>
      <pc:sldChg chg="modNotesTx">
        <pc:chgData name="Vikesh Chugani" userId="9c759398cfaae00f" providerId="LiveId" clId="{247D1286-C692-4091-8A31-A44B33DAA72B}" dt="2024-08-21T08:17:08.736" v="2060" actId="20577"/>
        <pc:sldMkLst>
          <pc:docMk/>
          <pc:sldMk cId="3831877885" sldId="1859"/>
        </pc:sldMkLst>
      </pc:sldChg>
      <pc:sldChg chg="modNotesTx">
        <pc:chgData name="Vikesh Chugani" userId="9c759398cfaae00f" providerId="LiveId" clId="{247D1286-C692-4091-8A31-A44B33DAA72B}" dt="2024-08-20T07:47:26.784" v="138" actId="20577"/>
        <pc:sldMkLst>
          <pc:docMk/>
          <pc:sldMk cId="214491966" sldId="1864"/>
        </pc:sldMkLst>
      </pc:sldChg>
      <pc:sldChg chg="modNotesTx">
        <pc:chgData name="Vikesh Chugani" userId="9c759398cfaae00f" providerId="LiveId" clId="{247D1286-C692-4091-8A31-A44B33DAA72B}" dt="2024-08-21T08:19:47.123" v="2122" actId="20577"/>
        <pc:sldMkLst>
          <pc:docMk/>
          <pc:sldMk cId="1353234795" sldId="1866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333497614" sldId="1874"/>
        </pc:sldMkLst>
      </pc:sldChg>
      <pc:sldChg chg="del">
        <pc:chgData name="Vikesh Chugani" userId="9c759398cfaae00f" providerId="LiveId" clId="{247D1286-C692-4091-8A31-A44B33DAA72B}" dt="2024-08-19T11:48:41.671" v="2" actId="47"/>
        <pc:sldMkLst>
          <pc:docMk/>
          <pc:sldMk cId="1344727080" sldId="1883"/>
        </pc:sldMkLst>
      </pc:sldChg>
      <pc:sldChg chg="modNotesTx">
        <pc:chgData name="Vikesh Chugani" userId="9c759398cfaae00f" providerId="LiveId" clId="{247D1286-C692-4091-8A31-A44B33DAA72B}" dt="2024-08-20T09:03:12.029" v="789" actId="20577"/>
        <pc:sldMkLst>
          <pc:docMk/>
          <pc:sldMk cId="1772530871" sldId="1886"/>
        </pc:sldMkLst>
      </pc:sldChg>
      <pc:sldChg chg="modNotesTx">
        <pc:chgData name="Vikesh Chugani" userId="9c759398cfaae00f" providerId="LiveId" clId="{247D1286-C692-4091-8A31-A44B33DAA72B}" dt="2024-08-20T09:16:42.629" v="2007" actId="20577"/>
        <pc:sldMkLst>
          <pc:docMk/>
          <pc:sldMk cId="1319048102" sldId="1888"/>
        </pc:sldMkLst>
      </pc:sldChg>
      <pc:sldMasterChg chg="delSldLayout">
        <pc:chgData name="Vikesh Chugani" userId="9c759398cfaae00f" providerId="LiveId" clId="{247D1286-C692-4091-8A31-A44B33DAA72B}" dt="2024-08-19T11:48:41.671" v="2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0" sldId="2147483648"/>
            <pc:sldLayoutMk cId="2828136979" sldId="2147483663"/>
          </pc:sldLayoutMkLst>
        </pc:sldLayoutChg>
      </pc:sldMasterChg>
      <pc:sldMasterChg chg="del delSldLayout">
        <pc:chgData name="Vikesh Chugani" userId="9c759398cfaae00f" providerId="LiveId" clId="{247D1286-C692-4091-8A31-A44B33DAA72B}" dt="2024-08-19T11:48:41.671" v="2" actId="47"/>
        <pc:sldMasterMkLst>
          <pc:docMk/>
          <pc:sldMasterMk cId="2905603714" sldId="2147483687"/>
        </pc:sldMasterMkLst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984721469" sldId="2147483688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446564466" sldId="2147483689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77772682" sldId="2147483690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699606475" sldId="2147483691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335939687" sldId="2147483692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851539813" sldId="2147483693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6355659" sldId="2147483694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709306815" sldId="2147483695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791754848" sldId="2147483696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102353142" sldId="2147483697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739430249" sldId="2147483698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373335450" sldId="2147483699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323031849" sldId="2147483700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2781935230" sldId="2147483701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664837060" sldId="2147483702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1523446" sldId="2147483703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4123585782" sldId="2147483704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090486860" sldId="2147483705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3278099162" sldId="2147483706"/>
          </pc:sldLayoutMkLst>
        </pc:sldLayoutChg>
        <pc:sldLayoutChg chg="del">
          <pc:chgData name="Vikesh Chugani" userId="9c759398cfaae00f" providerId="LiveId" clId="{247D1286-C692-4091-8A31-A44B33DAA72B}" dt="2024-08-19T11:48:41.671" v="2" actId="47"/>
          <pc:sldLayoutMkLst>
            <pc:docMk/>
            <pc:sldMasterMk cId="2905603714" sldId="2147483687"/>
            <pc:sldLayoutMk cId="1051220908" sldId="2147483707"/>
          </pc:sldLayoutMkLst>
        </pc:sldLayoutChg>
      </pc:sldMasterChg>
    </pc:docChg>
  </pc:docChgLst>
  <pc:docChgLst>
    <pc:chgData name="Vikesh Chugani" userId="9c759398cfaae00f" providerId="LiveId" clId="{9DD1F36D-C7B4-4854-8DA3-DF51EDD7316B}"/>
    <pc:docChg chg="undo custSel addSld delSld modSld sldOrd delMainMaster modMainMaster delSection modSection">
      <pc:chgData name="Vikesh Chugani" userId="9c759398cfaae00f" providerId="LiveId" clId="{9DD1F36D-C7B4-4854-8DA3-DF51EDD7316B}" dt="2025-08-20T15:10:08.502" v="2798" actId="14100"/>
      <pc:docMkLst>
        <pc:docMk/>
      </pc:docMkLst>
      <pc:sldChg chg="modSp mod">
        <pc:chgData name="Vikesh Chugani" userId="9c759398cfaae00f" providerId="LiveId" clId="{9DD1F36D-C7B4-4854-8DA3-DF51EDD7316B}" dt="2025-08-06T07:42:55.599" v="7" actId="20577"/>
        <pc:sldMkLst>
          <pc:docMk/>
          <pc:sldMk cId="0" sldId="256"/>
        </pc:sldMkLst>
      </pc:sldChg>
      <pc:sldChg chg="add del">
        <pc:chgData name="Vikesh Chugani" userId="9c759398cfaae00f" providerId="LiveId" clId="{9DD1F36D-C7B4-4854-8DA3-DF51EDD7316B}" dt="2025-08-20T15:03:18.911" v="2725" actId="47"/>
        <pc:sldMkLst>
          <pc:docMk/>
          <pc:sldMk cId="0" sldId="266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0" sldId="307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0" sldId="309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126494913" sldId="319"/>
        </pc:sldMkLst>
      </pc:sldChg>
      <pc:sldChg chg="addSp modSp add mod">
        <pc:chgData name="Vikesh Chugani" userId="9c759398cfaae00f" providerId="LiveId" clId="{9DD1F36D-C7B4-4854-8DA3-DF51EDD7316B}" dt="2025-08-20T15:02:55.892" v="2722"/>
        <pc:sldMkLst>
          <pc:docMk/>
          <pc:sldMk cId="990182570" sldId="337"/>
        </pc:sldMkLst>
      </pc:sldChg>
      <pc:sldChg chg="add">
        <pc:chgData name="Vikesh Chugani" userId="9c759398cfaae00f" providerId="LiveId" clId="{9DD1F36D-C7B4-4854-8DA3-DF51EDD7316B}" dt="2025-08-20T15:03:44.131" v="2726"/>
        <pc:sldMkLst>
          <pc:docMk/>
          <pc:sldMk cId="0" sldId="338"/>
        </pc:sldMkLst>
      </pc:sldChg>
      <pc:sldChg chg="add del">
        <pc:chgData name="Vikesh Chugani" userId="9c759398cfaae00f" providerId="LiveId" clId="{9DD1F36D-C7B4-4854-8DA3-DF51EDD7316B}" dt="2025-08-20T15:02:01.721" v="2709" actId="47"/>
        <pc:sldMkLst>
          <pc:docMk/>
          <pc:sldMk cId="459477758" sldId="34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775406622" sldId="359"/>
        </pc:sldMkLst>
      </pc:sldChg>
      <pc:sldChg chg="modSp mod">
        <pc:chgData name="Vikesh Chugani" userId="9c759398cfaae00f" providerId="LiveId" clId="{9DD1F36D-C7B4-4854-8DA3-DF51EDD7316B}" dt="2025-08-20T14:46:13.124" v="2501" actId="108"/>
        <pc:sldMkLst>
          <pc:docMk/>
          <pc:sldMk cId="2873868313" sldId="382"/>
        </pc:sldMkLst>
      </pc:sldChg>
      <pc:sldChg chg="addSp delSp modSp add mod">
        <pc:chgData name="Vikesh Chugani" userId="9c759398cfaae00f" providerId="LiveId" clId="{9DD1F36D-C7B4-4854-8DA3-DF51EDD7316B}" dt="2025-08-20T14:54:04.189" v="2673" actId="478"/>
        <pc:sldMkLst>
          <pc:docMk/>
          <pc:sldMk cId="3504111010" sldId="385"/>
        </pc:sldMkLst>
      </pc:sldChg>
      <pc:sldChg chg="addSp delSp modSp add mod">
        <pc:chgData name="Vikesh Chugani" userId="9c759398cfaae00f" providerId="LiveId" clId="{9DD1F36D-C7B4-4854-8DA3-DF51EDD7316B}" dt="2025-08-20T10:29:19.143" v="1526" actId="207"/>
        <pc:sldMkLst>
          <pc:docMk/>
          <pc:sldMk cId="3212138946" sldId="387"/>
        </pc:sldMkLst>
      </pc:sldChg>
      <pc:sldChg chg="addSp delSp modSp add del mod ord">
        <pc:chgData name="Vikesh Chugani" userId="9c759398cfaae00f" providerId="LiveId" clId="{9DD1F36D-C7B4-4854-8DA3-DF51EDD7316B}" dt="2025-08-20T10:19:34.137" v="1463" actId="47"/>
        <pc:sldMkLst>
          <pc:docMk/>
          <pc:sldMk cId="1558389387" sldId="429"/>
        </pc:sldMkLst>
      </pc:sldChg>
      <pc:sldChg chg="modSp mod">
        <pc:chgData name="Vikesh Chugani" userId="9c759398cfaae00f" providerId="LiveId" clId="{9DD1F36D-C7B4-4854-8DA3-DF51EDD7316B}" dt="2025-08-20T14:46:34.554" v="2502" actId="207"/>
        <pc:sldMkLst>
          <pc:docMk/>
          <pc:sldMk cId="1997537558" sldId="51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32353031" sldId="547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870430930" sldId="550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241106778" sldId="55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399892931" sldId="568"/>
        </pc:sldMkLst>
      </pc:sldChg>
      <pc:sldChg chg="del ord">
        <pc:chgData name="Vikesh Chugani" userId="9c759398cfaae00f" providerId="LiveId" clId="{9DD1F36D-C7B4-4854-8DA3-DF51EDD7316B}" dt="2025-08-18T16:42:30.080" v="390" actId="47"/>
        <pc:sldMkLst>
          <pc:docMk/>
          <pc:sldMk cId="1171548870" sldId="576"/>
        </pc:sldMkLst>
      </pc:sldChg>
      <pc:sldChg chg="ord">
        <pc:chgData name="Vikesh Chugani" userId="9c759398cfaae00f" providerId="LiveId" clId="{9DD1F36D-C7B4-4854-8DA3-DF51EDD7316B}" dt="2025-08-06T09:45:39.490" v="38"/>
        <pc:sldMkLst>
          <pc:docMk/>
          <pc:sldMk cId="2344106334" sldId="1458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63970311" sldId="147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610267048" sldId="1653"/>
        </pc:sldMkLst>
      </pc:sldChg>
      <pc:sldChg chg="del">
        <pc:chgData name="Vikesh Chugani" userId="9c759398cfaae00f" providerId="LiveId" clId="{9DD1F36D-C7B4-4854-8DA3-DF51EDD7316B}" dt="2025-08-20T13:50:46.002" v="2496" actId="47"/>
        <pc:sldMkLst>
          <pc:docMk/>
          <pc:sldMk cId="766010963" sldId="1678"/>
        </pc:sldMkLst>
      </pc:sldChg>
      <pc:sldChg chg="addSp delSp modSp add del mod">
        <pc:chgData name="Vikesh Chugani" userId="9c759398cfaae00f" providerId="LiveId" clId="{9DD1F36D-C7B4-4854-8DA3-DF51EDD7316B}" dt="2025-08-20T10:38:11.072" v="1566" actId="47"/>
        <pc:sldMkLst>
          <pc:docMk/>
          <pc:sldMk cId="4022447760" sldId="1690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759465604" sldId="1693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564190797" sldId="1694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3983337660" sldId="1695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509261614" sldId="1699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2964524841" sldId="1700"/>
        </pc:sldMkLst>
      </pc:sldChg>
      <pc:sldChg chg="addSp delSp modSp add del mod ord">
        <pc:chgData name="Vikesh Chugani" userId="9c759398cfaae00f" providerId="LiveId" clId="{9DD1F36D-C7B4-4854-8DA3-DF51EDD7316B}" dt="2025-08-20T14:47:31.847" v="2511" actId="108"/>
        <pc:sldMkLst>
          <pc:docMk/>
          <pc:sldMk cId="4204641025" sldId="1768"/>
        </pc:sldMkLst>
      </pc:sldChg>
      <pc:sldChg chg="del ord">
        <pc:chgData name="Vikesh Chugani" userId="9c759398cfaae00f" providerId="LiveId" clId="{9DD1F36D-C7B4-4854-8DA3-DF51EDD7316B}" dt="2025-08-18T14:52:22.253" v="223" actId="47"/>
        <pc:sldMkLst>
          <pc:docMk/>
          <pc:sldMk cId="2153535519" sldId="1856"/>
        </pc:sldMkLst>
      </pc:sldChg>
      <pc:sldChg chg="modSp mod">
        <pc:chgData name="Vikesh Chugani" userId="9c759398cfaae00f" providerId="LiveId" clId="{9DD1F36D-C7B4-4854-8DA3-DF51EDD7316B}" dt="2025-08-20T10:00:26.524" v="408" actId="208"/>
        <pc:sldMkLst>
          <pc:docMk/>
          <pc:sldMk cId="1138289792" sldId="1858"/>
        </pc:sldMkLst>
      </pc:sldChg>
      <pc:sldChg chg="modSp mod ord">
        <pc:chgData name="Vikesh Chugani" userId="9c759398cfaae00f" providerId="LiveId" clId="{9DD1F36D-C7B4-4854-8DA3-DF51EDD7316B}" dt="2025-08-20T14:46:54.087" v="2507" actId="207"/>
        <pc:sldMkLst>
          <pc:docMk/>
          <pc:sldMk cId="3831877885" sldId="1859"/>
        </pc:sldMkLst>
      </pc:sldChg>
      <pc:sldChg chg="del">
        <pc:chgData name="Vikesh Chugani" userId="9c759398cfaae00f" providerId="LiveId" clId="{9DD1F36D-C7B4-4854-8DA3-DF51EDD7316B}" dt="2025-08-06T08:34:09.373" v="10" actId="47"/>
        <pc:sldMkLst>
          <pc:docMk/>
          <pc:sldMk cId="1755524343" sldId="1861"/>
        </pc:sldMkLst>
      </pc:sldChg>
      <pc:sldChg chg="modSp mod ord">
        <pc:chgData name="Vikesh Chugani" userId="9c759398cfaae00f" providerId="LiveId" clId="{9DD1F36D-C7B4-4854-8DA3-DF51EDD7316B}" dt="2025-08-20T14:46:57.305" v="2508" actId="207"/>
        <pc:sldMkLst>
          <pc:docMk/>
          <pc:sldMk cId="727476447" sldId="1862"/>
        </pc:sldMkLst>
      </pc:sldChg>
      <pc:sldChg chg="modSp mod ord">
        <pc:chgData name="Vikesh Chugani" userId="9c759398cfaae00f" providerId="LiveId" clId="{9DD1F36D-C7B4-4854-8DA3-DF51EDD7316B}" dt="2025-08-20T14:47:00.288" v="2509" actId="207"/>
        <pc:sldMkLst>
          <pc:docMk/>
          <pc:sldMk cId="214491966" sldId="1864"/>
        </pc:sldMkLst>
      </pc:sldChg>
      <pc:sldChg chg="addSp delSp modSp mod ord">
        <pc:chgData name="Vikesh Chugani" userId="9c759398cfaae00f" providerId="LiveId" clId="{9DD1F36D-C7B4-4854-8DA3-DF51EDD7316B}" dt="2025-08-20T14:52:04.493" v="2653" actId="20577"/>
        <pc:sldMkLst>
          <pc:docMk/>
          <pc:sldMk cId="1353234795" sldId="1866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5681167" sldId="1877"/>
        </pc:sldMkLst>
      </pc:sldChg>
      <pc:sldChg chg="del ord">
        <pc:chgData name="Vikesh Chugani" userId="9c759398cfaae00f" providerId="LiveId" clId="{9DD1F36D-C7B4-4854-8DA3-DF51EDD7316B}" dt="2025-08-20T13:31:21.344" v="1942" actId="47"/>
        <pc:sldMkLst>
          <pc:docMk/>
          <pc:sldMk cId="3477707378" sldId="1879"/>
        </pc:sldMkLst>
      </pc:sldChg>
      <pc:sldChg chg="del">
        <pc:chgData name="Vikesh Chugani" userId="9c759398cfaae00f" providerId="LiveId" clId="{9DD1F36D-C7B4-4854-8DA3-DF51EDD7316B}" dt="2025-08-20T13:50:52.836" v="2498" actId="47"/>
        <pc:sldMkLst>
          <pc:docMk/>
          <pc:sldMk cId="265919042" sldId="1880"/>
        </pc:sldMkLst>
      </pc:sldChg>
      <pc:sldChg chg="del">
        <pc:chgData name="Vikesh Chugani" userId="9c759398cfaae00f" providerId="LiveId" clId="{9DD1F36D-C7B4-4854-8DA3-DF51EDD7316B}" dt="2025-08-20T13:50:54.377" v="2499" actId="47"/>
        <pc:sldMkLst>
          <pc:docMk/>
          <pc:sldMk cId="1123741503" sldId="1881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450417700" sldId="188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772530871" sldId="1886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19048102" sldId="1888"/>
        </pc:sldMkLst>
      </pc:sldChg>
      <pc:sldChg chg="addSp delSp modSp mod ord">
        <pc:chgData name="Vikesh Chugani" userId="9c759398cfaae00f" providerId="LiveId" clId="{9DD1F36D-C7B4-4854-8DA3-DF51EDD7316B}" dt="2025-08-20T14:46:42.871" v="2505" actId="207"/>
        <pc:sldMkLst>
          <pc:docMk/>
          <pc:sldMk cId="217827664" sldId="1891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354936174" sldId="1892"/>
        </pc:sldMkLst>
      </pc:sldChg>
      <pc:sldChg chg="del">
        <pc:chgData name="Vikesh Chugani" userId="9c759398cfaae00f" providerId="LiveId" clId="{9DD1F36D-C7B4-4854-8DA3-DF51EDD7316B}" dt="2025-08-20T15:00:15.508" v="2675" actId="47"/>
        <pc:sldMkLst>
          <pc:docMk/>
          <pc:sldMk cId="1821538331" sldId="1893"/>
        </pc:sldMkLst>
      </pc:sldChg>
      <pc:sldChg chg="add">
        <pc:chgData name="Vikesh Chugani" userId="9c759398cfaae00f" providerId="LiveId" clId="{9DD1F36D-C7B4-4854-8DA3-DF51EDD7316B}" dt="2025-08-06T08:30:54.762" v="8"/>
        <pc:sldMkLst>
          <pc:docMk/>
          <pc:sldMk cId="2188383503" sldId="1894"/>
        </pc:sldMkLst>
      </pc:sldChg>
      <pc:sldChg chg="addSp delSp modSp add mod ord">
        <pc:chgData name="Vikesh Chugani" userId="9c759398cfaae00f" providerId="LiveId" clId="{9DD1F36D-C7B4-4854-8DA3-DF51EDD7316B}" dt="2025-08-20T15:10:08.502" v="2798" actId="14100"/>
        <pc:sldMkLst>
          <pc:docMk/>
          <pc:sldMk cId="3582559601" sldId="1914"/>
        </pc:sldMkLst>
        <pc:spChg chg="mod ord">
          <ac:chgData name="Vikesh Chugani" userId="9c759398cfaae00f" providerId="LiveId" clId="{9DD1F36D-C7B4-4854-8DA3-DF51EDD7316B}" dt="2025-08-20T14:52:38.096" v="2657" actId="108"/>
          <ac:spMkLst>
            <pc:docMk/>
            <pc:sldMk cId="3582559601" sldId="1914"/>
            <ac:spMk id="3" creationId="{00000000-0000-0000-0000-000000000000}"/>
          </ac:spMkLst>
        </pc:spChg>
        <pc:spChg chg="mod ord">
          <ac:chgData name="Vikesh Chugani" userId="9c759398cfaae00f" providerId="LiveId" clId="{9DD1F36D-C7B4-4854-8DA3-DF51EDD7316B}" dt="2025-08-20T14:52:30.341" v="2656" actId="108"/>
          <ac:spMkLst>
            <pc:docMk/>
            <pc:sldMk cId="3582559601" sldId="1914"/>
            <ac:spMk id="4" creationId="{00000000-0000-0000-0000-000000000000}"/>
          </ac:spMkLst>
        </pc:spChg>
        <pc:spChg chg="add mod">
          <ac:chgData name="Vikesh Chugani" userId="9c759398cfaae00f" providerId="LiveId" clId="{9DD1F36D-C7B4-4854-8DA3-DF51EDD7316B}" dt="2025-08-20T15:08:47.734" v="2797" actId="20577"/>
          <ac:spMkLst>
            <pc:docMk/>
            <pc:sldMk cId="3582559601" sldId="1914"/>
            <ac:spMk id="7" creationId="{AF1D6D72-CCF1-B9CD-2609-538EEA5E448F}"/>
          </ac:spMkLst>
        </pc:spChg>
        <pc:spChg chg="mod ord">
          <ac:chgData name="Vikesh Chugani" userId="9c759398cfaae00f" providerId="LiveId" clId="{9DD1F36D-C7B4-4854-8DA3-DF51EDD7316B}" dt="2025-08-20T15:06:49.463" v="2747" actId="14100"/>
          <ac:spMkLst>
            <pc:docMk/>
            <pc:sldMk cId="3582559601" sldId="1914"/>
            <ac:spMk id="35" creationId="{AE0E9783-D7DC-7A58-2939-E293B21ABA31}"/>
          </ac:spMkLst>
        </pc:spChg>
        <pc:spChg chg="mod ord">
          <ac:chgData name="Vikesh Chugani" userId="9c759398cfaae00f" providerId="LiveId" clId="{9DD1F36D-C7B4-4854-8DA3-DF51EDD7316B}" dt="2025-08-20T15:07:05.325" v="2751" actId="14100"/>
          <ac:spMkLst>
            <pc:docMk/>
            <pc:sldMk cId="3582559601" sldId="1914"/>
            <ac:spMk id="36" creationId="{0C588386-2350-F80B-959F-C54AABB464F4}"/>
          </ac:spMkLst>
        </pc:spChg>
        <pc:spChg chg="mod ord">
          <ac:chgData name="Vikesh Chugani" userId="9c759398cfaae00f" providerId="LiveId" clId="{9DD1F36D-C7B4-4854-8DA3-DF51EDD7316B}" dt="2025-08-20T15:04:30.950" v="2733" actId="14100"/>
          <ac:spMkLst>
            <pc:docMk/>
            <pc:sldMk cId="3582559601" sldId="1914"/>
            <ac:spMk id="37" creationId="{53862FA2-5D99-7D85-D0F5-8ECF123169EC}"/>
          </ac:spMkLst>
        </pc:spChg>
        <pc:spChg chg="mod ord">
          <ac:chgData name="Vikesh Chugani" userId="9c759398cfaae00f" providerId="LiveId" clId="{9DD1F36D-C7B4-4854-8DA3-DF51EDD7316B}" dt="2025-08-20T13:48:57.491" v="2484"/>
          <ac:spMkLst>
            <pc:docMk/>
            <pc:sldMk cId="3582559601" sldId="1914"/>
            <ac:spMk id="38" creationId="{209D493C-F55D-2DEC-33BA-B29D3B333932}"/>
          </ac:spMkLst>
        </pc:spChg>
        <pc:spChg chg="mod ord">
          <ac:chgData name="Vikesh Chugani" userId="9c759398cfaae00f" providerId="LiveId" clId="{9DD1F36D-C7B4-4854-8DA3-DF51EDD7316B}" dt="2025-08-20T15:04:52.278" v="2737" actId="14100"/>
          <ac:spMkLst>
            <pc:docMk/>
            <pc:sldMk cId="3582559601" sldId="1914"/>
            <ac:spMk id="186" creationId="{9482A306-6EEE-7CA4-9F75-9FF400D10164}"/>
          </ac:spMkLst>
        </pc:spChg>
        <pc:spChg chg="mod ord">
          <ac:chgData name="Vikesh Chugani" userId="9c759398cfaae00f" providerId="LiveId" clId="{9DD1F36D-C7B4-4854-8DA3-DF51EDD7316B}" dt="2025-08-20T15:07:52.360" v="2757" actId="1076"/>
          <ac:spMkLst>
            <pc:docMk/>
            <pc:sldMk cId="3582559601" sldId="1914"/>
            <ac:spMk id="187" creationId="{D8151708-CE93-46EB-8F13-A37F19A4F152}"/>
          </ac:spMkLst>
        </pc:spChg>
        <pc:spChg chg="mod ord">
          <ac:chgData name="Vikesh Chugani" userId="9c759398cfaae00f" providerId="LiveId" clId="{9DD1F36D-C7B4-4854-8DA3-DF51EDD7316B}" dt="2025-08-20T13:48:57.481" v="2452"/>
          <ac:spMkLst>
            <pc:docMk/>
            <pc:sldMk cId="3582559601" sldId="1914"/>
            <ac:spMk id="188" creationId="{D991BFD1-38B5-F0C4-FB5A-EDF9E0548F3C}"/>
          </ac:spMkLst>
        </pc:spChg>
        <pc:spChg chg="mod ord">
          <ac:chgData name="Vikesh Chugani" userId="9c759398cfaae00f" providerId="LiveId" clId="{9DD1F36D-C7B4-4854-8DA3-DF51EDD7316B}" dt="2025-08-20T15:05:07.631" v="2740" actId="14100"/>
          <ac:spMkLst>
            <pc:docMk/>
            <pc:sldMk cId="3582559601" sldId="1914"/>
            <ac:spMk id="189" creationId="{4F4492AA-2755-9802-4F8E-466AC053F823}"/>
          </ac:spMkLst>
        </pc:spChg>
        <pc:spChg chg="mod ord">
          <ac:chgData name="Vikesh Chugani" userId="9c759398cfaae00f" providerId="LiveId" clId="{9DD1F36D-C7B4-4854-8DA3-DF51EDD7316B}" dt="2025-08-20T13:48:57.482" v="2456"/>
          <ac:spMkLst>
            <pc:docMk/>
            <pc:sldMk cId="3582559601" sldId="1914"/>
            <ac:spMk id="197" creationId="{26E6B745-AD19-6824-9C4A-379EB9C25962}"/>
          </ac:spMkLst>
        </pc:spChg>
        <pc:spChg chg="mod ord">
          <ac:chgData name="Vikesh Chugani" userId="9c759398cfaae00f" providerId="LiveId" clId="{9DD1F36D-C7B4-4854-8DA3-DF51EDD7316B}" dt="2025-08-20T15:07:02.229" v="2750" actId="14100"/>
          <ac:spMkLst>
            <pc:docMk/>
            <pc:sldMk cId="3582559601" sldId="1914"/>
            <ac:spMk id="198" creationId="{80CDF3BC-AD70-148E-9433-4A370AD87826}"/>
          </ac:spMkLst>
        </pc:spChg>
        <pc:spChg chg="mod ord">
          <ac:chgData name="Vikesh Chugani" userId="9c759398cfaae00f" providerId="LiveId" clId="{9DD1F36D-C7B4-4854-8DA3-DF51EDD7316B}" dt="2025-08-20T13:48:57.485" v="2460"/>
          <ac:spMkLst>
            <pc:docMk/>
            <pc:sldMk cId="3582559601" sldId="1914"/>
            <ac:spMk id="205" creationId="{C44B278D-181C-8E16-4CA2-F90B473AC237}"/>
          </ac:spMkLst>
        </pc:spChg>
        <pc:spChg chg="mod ord">
          <ac:chgData name="Vikesh Chugani" userId="9c759398cfaae00f" providerId="LiveId" clId="{9DD1F36D-C7B4-4854-8DA3-DF51EDD7316B}" dt="2025-08-20T13:48:57.485" v="2462"/>
          <ac:spMkLst>
            <pc:docMk/>
            <pc:sldMk cId="3582559601" sldId="1914"/>
            <ac:spMk id="206" creationId="{0E7D30A5-EC3C-16D3-B372-373404C91098}"/>
          </ac:spMkLst>
        </pc:spChg>
        <pc:spChg chg="mod ord">
          <ac:chgData name="Vikesh Chugani" userId="9c759398cfaae00f" providerId="LiveId" clId="{9DD1F36D-C7B4-4854-8DA3-DF51EDD7316B}" dt="2025-08-20T15:05:16.566" v="2742" actId="14100"/>
          <ac:spMkLst>
            <pc:docMk/>
            <pc:sldMk cId="3582559601" sldId="1914"/>
            <ac:spMk id="208" creationId="{C282A11E-C4B0-C399-E924-A0C7D85D6623}"/>
          </ac:spMkLst>
        </pc:spChg>
        <pc:spChg chg="mod ord">
          <ac:chgData name="Vikesh Chugani" userId="9c759398cfaae00f" providerId="LiveId" clId="{9DD1F36D-C7B4-4854-8DA3-DF51EDD7316B}" dt="2025-08-20T15:06:46.470" v="2746" actId="14100"/>
          <ac:spMkLst>
            <pc:docMk/>
            <pc:sldMk cId="3582559601" sldId="1914"/>
            <ac:spMk id="213" creationId="{9A0B4B0B-7C10-C63D-FE25-9214DD8B35CA}"/>
          </ac:spMkLst>
        </pc:spChg>
        <pc:spChg chg="mod ord">
          <ac:chgData name="Vikesh Chugani" userId="9c759398cfaae00f" providerId="LiveId" clId="{9DD1F36D-C7B4-4854-8DA3-DF51EDD7316B}" dt="2025-08-20T15:10:08.502" v="2798" actId="14100"/>
          <ac:spMkLst>
            <pc:docMk/>
            <pc:sldMk cId="3582559601" sldId="1914"/>
            <ac:spMk id="217" creationId="{86EF35B1-CDE2-679D-1DC5-4B8F69033414}"/>
          </ac:spMkLst>
        </pc:spChg>
        <pc:spChg chg="mod ord">
          <ac:chgData name="Vikesh Chugani" userId="9c759398cfaae00f" providerId="LiveId" clId="{9DD1F36D-C7B4-4854-8DA3-DF51EDD7316B}" dt="2025-08-20T13:48:57.487" v="2468"/>
          <ac:spMkLst>
            <pc:docMk/>
            <pc:sldMk cId="3582559601" sldId="1914"/>
            <ac:spMk id="222" creationId="{3559D346-3343-7D22-CBB2-533A0C048E94}"/>
          </ac:spMkLst>
        </pc:spChg>
        <pc:spChg chg="mod ord">
          <ac:chgData name="Vikesh Chugani" userId="9c759398cfaae00f" providerId="LiveId" clId="{9DD1F36D-C7B4-4854-8DA3-DF51EDD7316B}" dt="2025-08-20T13:48:57.487" v="2470"/>
          <ac:spMkLst>
            <pc:docMk/>
            <pc:sldMk cId="3582559601" sldId="1914"/>
            <ac:spMk id="226" creationId="{76991C3F-6F36-9093-678F-2F6BFA2BD8F5}"/>
          </ac:spMkLst>
        </pc:spChg>
        <pc:graphicFrameChg chg="mod">
          <ac:chgData name="Vikesh Chugani" userId="9c759398cfaae00f" providerId="LiveId" clId="{9DD1F36D-C7B4-4854-8DA3-DF51EDD7316B}" dt="2025-08-20T13:48:57.493" v="2488"/>
          <ac:graphicFrameMkLst>
            <pc:docMk/>
            <pc:sldMk cId="3582559601" sldId="1914"/>
            <ac:graphicFrameMk id="2" creationId="{00000000-0000-0000-0000-000000000000}"/>
          </ac:graphicFrameMkLst>
        </pc:graphicFrameChg>
      </pc:sldChg>
      <pc:sldChg chg="addSp delSp modSp add del mod ord">
        <pc:chgData name="Vikesh Chugani" userId="9c759398cfaae00f" providerId="LiveId" clId="{9DD1F36D-C7B4-4854-8DA3-DF51EDD7316B}" dt="2025-08-20T14:50:56.238" v="2642" actId="1076"/>
        <pc:sldMkLst>
          <pc:docMk/>
          <pc:sldMk cId="3922770403" sldId="1916"/>
        </pc:sldMkLst>
      </pc:sldChg>
      <pc:sldChg chg="modSp add del mod ord">
        <pc:chgData name="Vikesh Chugani" userId="9c759398cfaae00f" providerId="LiveId" clId="{9DD1F36D-C7B4-4854-8DA3-DF51EDD7316B}" dt="2025-08-20T13:31:20.257" v="1941" actId="47"/>
        <pc:sldMkLst>
          <pc:docMk/>
          <pc:sldMk cId="3378843573" sldId="1917"/>
        </pc:sldMkLst>
      </pc:sldChg>
      <pc:sldChg chg="modSp add mod">
        <pc:chgData name="Vikesh Chugani" userId="9c759398cfaae00f" providerId="LiveId" clId="{9DD1F36D-C7B4-4854-8DA3-DF51EDD7316B}" dt="2025-08-20T14:46:05.245" v="2500" actId="108"/>
        <pc:sldMkLst>
          <pc:docMk/>
          <pc:sldMk cId="4136258358" sldId="1924"/>
        </pc:sldMkLst>
      </pc:sldChg>
      <pc:sldChg chg="delSp modSp add mod">
        <pc:chgData name="Vikesh Chugani" userId="9c759398cfaae00f" providerId="LiveId" clId="{9DD1F36D-C7B4-4854-8DA3-DF51EDD7316B}" dt="2025-08-20T10:01:46.970" v="412" actId="20577"/>
        <pc:sldMkLst>
          <pc:docMk/>
          <pc:sldMk cId="1592583382" sldId="2023"/>
        </pc:sldMkLst>
      </pc:sldChg>
      <pc:sldChg chg="addSp modSp add mod ord modShow">
        <pc:chgData name="Vikesh Chugani" userId="9c759398cfaae00f" providerId="LiveId" clId="{9DD1F36D-C7B4-4854-8DA3-DF51EDD7316B}" dt="2025-08-20T14:49:43.941" v="2603" actId="1076"/>
        <pc:sldMkLst>
          <pc:docMk/>
          <pc:sldMk cId="4066991060" sldId="2108"/>
        </pc:sldMkLst>
      </pc:sldChg>
      <pc:sldChg chg="modSp add del mod modNotes">
        <pc:chgData name="Vikesh Chugani" userId="9c759398cfaae00f" providerId="LiveId" clId="{9DD1F36D-C7B4-4854-8DA3-DF51EDD7316B}" dt="2025-08-18T16:42:28.528" v="389" actId="47"/>
        <pc:sldMkLst>
          <pc:docMk/>
          <pc:sldMk cId="3759160663" sldId="2198"/>
        </pc:sldMkLst>
      </pc:sldChg>
      <pc:sldChg chg="modSp add mod">
        <pc:chgData name="Vikesh Chugani" userId="9c759398cfaae00f" providerId="LiveId" clId="{9DD1F36D-C7B4-4854-8DA3-DF51EDD7316B}" dt="2025-08-20T14:46:48.982" v="2506" actId="207"/>
        <pc:sldMkLst>
          <pc:docMk/>
          <pc:sldMk cId="4186019051" sldId="2199"/>
        </pc:sldMkLst>
      </pc:sldChg>
      <pc:sldChg chg="addSp delSp modSp add del mod ord">
        <pc:chgData name="Vikesh Chugani" userId="9c759398cfaae00f" providerId="LiveId" clId="{9DD1F36D-C7B4-4854-8DA3-DF51EDD7316B}" dt="2025-08-20T15:06:11.704" v="2745" actId="1036"/>
        <pc:sldMkLst>
          <pc:docMk/>
          <pc:sldMk cId="3332988729" sldId="2203"/>
        </pc:sldMkLst>
      </pc:sldChg>
      <pc:sldChg chg="modSp add del mod ord">
        <pc:chgData name="Vikesh Chugani" userId="9c759398cfaae00f" providerId="LiveId" clId="{9DD1F36D-C7B4-4854-8DA3-DF51EDD7316B}" dt="2025-08-18T16:42:53.570" v="397" actId="47"/>
        <pc:sldMkLst>
          <pc:docMk/>
          <pc:sldMk cId="1750207331" sldId="2204"/>
        </pc:sldMkLst>
      </pc:sldChg>
      <pc:sldChg chg="modSp add del mod">
        <pc:chgData name="Vikesh Chugani" userId="9c759398cfaae00f" providerId="LiveId" clId="{9DD1F36D-C7B4-4854-8DA3-DF51EDD7316B}" dt="2025-08-18T15:29:24.195" v="317"/>
        <pc:sldMkLst>
          <pc:docMk/>
          <pc:sldMk cId="1926914566" sldId="2204"/>
        </pc:sldMkLst>
      </pc:sldChg>
      <pc:sldChg chg="addSp delSp modSp add del mod ord">
        <pc:chgData name="Vikesh Chugani" userId="9c759398cfaae00f" providerId="LiveId" clId="{9DD1F36D-C7B4-4854-8DA3-DF51EDD7316B}" dt="2025-08-20T13:50:51.711" v="2497" actId="47"/>
        <pc:sldMkLst>
          <pc:docMk/>
          <pc:sldMk cId="2221814323" sldId="2205"/>
        </pc:sldMkLst>
      </pc:sldChg>
      <pc:sldChg chg="modSp add del mod">
        <pc:chgData name="Vikesh Chugani" userId="9c759398cfaae00f" providerId="LiveId" clId="{9DD1F36D-C7B4-4854-8DA3-DF51EDD7316B}" dt="2025-08-18T15:29:24.195" v="317"/>
        <pc:sldMkLst>
          <pc:docMk/>
          <pc:sldMk cId="2587140253" sldId="2205"/>
        </pc:sldMkLst>
      </pc:sldChg>
      <pc:sldChg chg="addSp delSp modSp add mod ord">
        <pc:chgData name="Vikesh Chugani" userId="9c759398cfaae00f" providerId="LiveId" clId="{9DD1F36D-C7B4-4854-8DA3-DF51EDD7316B}" dt="2025-08-20T14:49:49.825" v="2605"/>
        <pc:sldMkLst>
          <pc:docMk/>
          <pc:sldMk cId="412385012" sldId="2206"/>
        </pc:sldMkLst>
      </pc:sldChg>
      <pc:sldChg chg="add del">
        <pc:chgData name="Vikesh Chugani" userId="9c759398cfaae00f" providerId="LiveId" clId="{9DD1F36D-C7B4-4854-8DA3-DF51EDD7316B}" dt="2025-08-18T16:43:07.887" v="399"/>
        <pc:sldMkLst>
          <pc:docMk/>
          <pc:sldMk cId="521237782" sldId="2206"/>
        </pc:sldMkLst>
      </pc:sldChg>
      <pc:sldChg chg="addSp delSp modSp add del mod">
        <pc:chgData name="Vikesh Chugani" userId="9c759398cfaae00f" providerId="LiveId" clId="{9DD1F36D-C7B4-4854-8DA3-DF51EDD7316B}" dt="2025-08-20T10:38:12.599" v="1567" actId="47"/>
        <pc:sldMkLst>
          <pc:docMk/>
          <pc:sldMk cId="3354985650" sldId="2207"/>
        </pc:sldMkLst>
      </pc:sldChg>
      <pc:sldChg chg="addSp delSp modSp add mod">
        <pc:chgData name="Vikesh Chugani" userId="9c759398cfaae00f" providerId="LiveId" clId="{9DD1F36D-C7B4-4854-8DA3-DF51EDD7316B}" dt="2025-08-20T14:47:11.168" v="2510" actId="108"/>
        <pc:sldMkLst>
          <pc:docMk/>
          <pc:sldMk cId="903786285" sldId="2208"/>
        </pc:sldMkLst>
      </pc:sldChg>
      <pc:sldChg chg="add del">
        <pc:chgData name="Vikesh Chugani" userId="9c759398cfaae00f" providerId="LiveId" clId="{9DD1F36D-C7B4-4854-8DA3-DF51EDD7316B}" dt="2025-08-20T10:16:48.559" v="544"/>
        <pc:sldMkLst>
          <pc:docMk/>
          <pc:sldMk cId="1156194820" sldId="2208"/>
        </pc:sldMkLst>
      </pc:sldChg>
      <pc:sldChg chg="add del">
        <pc:chgData name="Vikesh Chugani" userId="9c759398cfaae00f" providerId="LiveId" clId="{9DD1F36D-C7B4-4854-8DA3-DF51EDD7316B}" dt="2025-08-20T10:16:45.855" v="542"/>
        <pc:sldMkLst>
          <pc:docMk/>
          <pc:sldMk cId="3632519472" sldId="2208"/>
        </pc:sldMkLst>
      </pc:sldChg>
      <pc:sldChg chg="addSp delSp modSp add mod">
        <pc:chgData name="Vikesh Chugani" userId="9c759398cfaae00f" providerId="LiveId" clId="{9DD1F36D-C7B4-4854-8DA3-DF51EDD7316B}" dt="2025-08-20T13:42:54.531" v="2252" actId="1076"/>
        <pc:sldMkLst>
          <pc:docMk/>
          <pc:sldMk cId="88837280" sldId="2209"/>
        </pc:sldMkLst>
      </pc:sldChg>
      <pc:sldChg chg="addSp delSp modSp add del mod">
        <pc:chgData name="Vikesh Chugani" userId="9c759398cfaae00f" providerId="LiveId" clId="{9DD1F36D-C7B4-4854-8DA3-DF51EDD7316B}" dt="2025-08-20T10:19:25.774" v="1462" actId="47"/>
        <pc:sldMkLst>
          <pc:docMk/>
          <pc:sldMk cId="1681458101" sldId="2209"/>
        </pc:sldMkLst>
      </pc:sldChg>
      <pc:sldChg chg="addSp delSp modSp add mod ord">
        <pc:chgData name="Vikesh Chugani" userId="9c759398cfaae00f" providerId="LiveId" clId="{9DD1F36D-C7B4-4854-8DA3-DF51EDD7316B}" dt="2025-08-20T15:03:13.277" v="2724"/>
        <pc:sldMkLst>
          <pc:docMk/>
          <pc:sldMk cId="2976705604" sldId="2210"/>
        </pc:sldMkLst>
      </pc:sldChg>
      <pc:sldMasterChg chg="delSldLayout">
        <pc:chgData name="Vikesh Chugani" userId="9c759398cfaae00f" providerId="LiveId" clId="{9DD1F36D-C7B4-4854-8DA3-DF51EDD7316B}" dt="2025-08-20T15:00:15.508" v="2675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0" sldId="2147483648"/>
            <pc:sldLayoutMk cId="2486692988" sldId="2147483665"/>
          </pc:sldLayoutMkLst>
        </pc:sldLayoutChg>
      </pc:sldMasterChg>
      <pc:sldMasterChg chg="del delSldLayout">
        <pc:chgData name="Vikesh Chugani" userId="9c759398cfaae00f" providerId="LiveId" clId="{9DD1F36D-C7B4-4854-8DA3-DF51EDD7316B}" dt="2025-08-20T15:00:15.508" v="2675" actId="47"/>
        <pc:sldMasterMkLst>
          <pc:docMk/>
          <pc:sldMasterMk cId="2118750587" sldId="2147483790"/>
        </pc:sldMasterMkLst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968600400" sldId="2147483791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450235288" sldId="2147483792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4065977623" sldId="2147483793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66791997" sldId="2147483794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26378682" sldId="2147483795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162742503" sldId="2147483796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1993141109" sldId="2147483797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809496893" sldId="2147483798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1452733732" sldId="2147483799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779847674" sldId="2147483800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896292176" sldId="2147483801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557924862" sldId="2147483802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924540932" sldId="2147483803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526593998" sldId="2147483804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2228676215" sldId="2147483805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222609823" sldId="2147483806"/>
          </pc:sldLayoutMkLst>
        </pc:sldLayoutChg>
        <pc:sldLayoutChg chg="del">
          <pc:chgData name="Vikesh Chugani" userId="9c759398cfaae00f" providerId="LiveId" clId="{9DD1F36D-C7B4-4854-8DA3-DF51EDD7316B}" dt="2025-08-20T15:00:15.508" v="2675" actId="47"/>
          <pc:sldLayoutMkLst>
            <pc:docMk/>
            <pc:sldMasterMk cId="2118750587" sldId="2147483790"/>
            <pc:sldLayoutMk cId="3692834699" sldId="2147483807"/>
          </pc:sldLayoutMkLst>
        </pc:sldLayoutChg>
      </pc:sldMasterChg>
      <pc:sldMasterChg chg="modSp del mod delSldLayout">
        <pc:chgData name="Vikesh Chugani" userId="9c759398cfaae00f" providerId="LiveId" clId="{9DD1F36D-C7B4-4854-8DA3-DF51EDD7316B}" dt="2025-08-20T10:19:34.137" v="1463" actId="47"/>
        <pc:sldMasterMkLst>
          <pc:docMk/>
          <pc:sldMasterMk cId="554445263" sldId="2147483808"/>
        </pc:sldMasterMkLst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408505614" sldId="2147483809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858972974" sldId="2147483810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72505629" sldId="2147483811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2531528658" sldId="2147483812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966126675" sldId="2147483813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290952551" sldId="2147483814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004143851" sldId="2147483815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3682711518" sldId="2147483816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604759207" sldId="2147483817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4022379752" sldId="2147483818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893863542" sldId="2147483819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637746365" sldId="2147483820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1246164269" sldId="2147483821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4204646923" sldId="2147483822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740222905" sldId="2147483823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3736122805" sldId="2147483824"/>
          </pc:sldLayoutMkLst>
        </pc:sldLayoutChg>
        <pc:sldLayoutChg chg="del">
          <pc:chgData name="Vikesh Chugani" userId="9c759398cfaae00f" providerId="LiveId" clId="{9DD1F36D-C7B4-4854-8DA3-DF51EDD7316B}" dt="2025-08-20T10:19:34.137" v="1463" actId="47"/>
          <pc:sldLayoutMkLst>
            <pc:docMk/>
            <pc:sldMasterMk cId="554445263" sldId="2147483808"/>
            <pc:sldLayoutMk cId="580328537" sldId="2147483825"/>
          </pc:sldLayoutMkLst>
        </pc:sldLayoutChg>
        <pc:sldLayoutChg chg="del">
          <pc:chgData name="Vikesh Chugani" userId="9c759398cfaae00f" providerId="LiveId" clId="{9DD1F36D-C7B4-4854-8DA3-DF51EDD7316B}" dt="2025-08-18T16:42:28.528" v="389" actId="47"/>
          <pc:sldLayoutMkLst>
            <pc:docMk/>
            <pc:sldMasterMk cId="554445263" sldId="2147483808"/>
            <pc:sldLayoutMk cId="1219676486" sldId="2147483826"/>
          </pc:sldLayoutMkLst>
        </pc:sldLayoutChg>
      </pc:sldMasterChg>
      <pc:sldMasterChg chg="modSp del mod delSldLayout">
        <pc:chgData name="Vikesh Chugani" userId="9c759398cfaae00f" providerId="LiveId" clId="{9DD1F36D-C7B4-4854-8DA3-DF51EDD7316B}" dt="2025-08-20T13:50:51.711" v="2497" actId="47"/>
        <pc:sldMasterMkLst>
          <pc:docMk/>
          <pc:sldMasterMk cId="2993734219" sldId="2147483828"/>
        </pc:sldMasterMkLst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633932866" sldId="2147483829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731112113" sldId="2147483830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747259478" sldId="2147483831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258130483" sldId="2147483832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182987928" sldId="2147483833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648093078" sldId="2147483834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758683193" sldId="2147483835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982637985" sldId="2147483836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101513381" sldId="2147483837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99183769" sldId="2147483838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171680733" sldId="2147483839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591967883" sldId="2147483840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3929259570" sldId="2147483841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173885744" sldId="2147483842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2800868582" sldId="2147483843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448907126" sldId="2147483844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921820670" sldId="2147483845"/>
          </pc:sldLayoutMkLst>
        </pc:sldLayoutChg>
        <pc:sldLayoutChg chg="del">
          <pc:chgData name="Vikesh Chugani" userId="9c759398cfaae00f" providerId="LiveId" clId="{9DD1F36D-C7B4-4854-8DA3-DF51EDD7316B}" dt="2025-08-20T13:50:51.711" v="2497" actId="47"/>
          <pc:sldLayoutMkLst>
            <pc:docMk/>
            <pc:sldMasterMk cId="2993734219" sldId="2147483828"/>
            <pc:sldLayoutMk cId="1817723041" sldId="2147483846"/>
          </pc:sldLayoutMkLst>
        </pc:sldLayoutChg>
      </pc:sldMasterChg>
    </pc:docChg>
  </pc:docChgLst>
  <pc:docChgLst>
    <pc:chgData name="Vikesh Chugani" userId="9c759398cfaae00f" providerId="LiveId" clId="{188A2CAA-441D-43D1-9C6E-D95DBDCCE6F2}"/>
    <pc:docChg chg="undo custSel addSld delSld modSld sldOrd modSection">
      <pc:chgData name="Vikesh Chugani" userId="9c759398cfaae00f" providerId="LiveId" clId="{188A2CAA-441D-43D1-9C6E-D95DBDCCE6F2}" dt="2025-08-26T07:33:08.154" v="200" actId="47"/>
      <pc:docMkLst>
        <pc:docMk/>
      </pc:docMkLst>
      <pc:sldChg chg="modSp add mod">
        <pc:chgData name="Vikesh Chugani" userId="9c759398cfaae00f" providerId="LiveId" clId="{188A2CAA-441D-43D1-9C6E-D95DBDCCE6F2}" dt="2025-08-26T07:32:59.445" v="199" actId="5793"/>
        <pc:sldMkLst>
          <pc:docMk/>
          <pc:sldMk cId="1775406622" sldId="359"/>
        </pc:sldMkLst>
        <pc:spChg chg="mod">
          <ac:chgData name="Vikesh Chugani" userId="9c759398cfaae00f" providerId="LiveId" clId="{188A2CAA-441D-43D1-9C6E-D95DBDCCE6F2}" dt="2025-08-26T07:31:45.469" v="141" actId="20577"/>
          <ac:spMkLst>
            <pc:docMk/>
            <pc:sldMk cId="1775406622" sldId="359"/>
            <ac:spMk id="3" creationId="{00000000-0000-0000-0000-000000000000}"/>
          </ac:spMkLst>
        </pc:spChg>
        <pc:spChg chg="mod">
          <ac:chgData name="Vikesh Chugani" userId="9c759398cfaae00f" providerId="LiveId" clId="{188A2CAA-441D-43D1-9C6E-D95DBDCCE6F2}" dt="2025-08-26T07:31:52.240" v="149" actId="5793"/>
          <ac:spMkLst>
            <pc:docMk/>
            <pc:sldMk cId="1775406622" sldId="359"/>
            <ac:spMk id="4" creationId="{00000000-0000-0000-0000-000000000000}"/>
          </ac:spMkLst>
        </pc:spChg>
        <pc:spChg chg="mod">
          <ac:chgData name="Vikesh Chugani" userId="9c759398cfaae00f" providerId="LiveId" clId="{188A2CAA-441D-43D1-9C6E-D95DBDCCE6F2}" dt="2025-08-26T07:32:59.445" v="199" actId="5793"/>
          <ac:spMkLst>
            <pc:docMk/>
            <pc:sldMk cId="1775406622" sldId="359"/>
            <ac:spMk id="8" creationId="{00000000-0000-0000-0000-000000000000}"/>
          </ac:spMkLst>
        </pc:spChg>
        <pc:graphicFrameChg chg="modGraphic">
          <ac:chgData name="Vikesh Chugani" userId="9c759398cfaae00f" providerId="LiveId" clId="{188A2CAA-441D-43D1-9C6E-D95DBDCCE6F2}" dt="2025-08-26T07:32:09.621" v="153" actId="6549"/>
          <ac:graphicFrameMkLst>
            <pc:docMk/>
            <pc:sldMk cId="1775406622" sldId="359"/>
            <ac:graphicFrameMk id="7" creationId="{00000000-0000-0000-0000-000000000000}"/>
          </ac:graphicFrameMkLst>
        </pc:graphicFrameChg>
      </pc:sldChg>
      <pc:sldChg chg="addSp modSp mod ord">
        <pc:chgData name="Vikesh Chugani" userId="9c759398cfaae00f" providerId="LiveId" clId="{188A2CAA-441D-43D1-9C6E-D95DBDCCE6F2}" dt="2025-08-25T13:36:10.216" v="129" actId="20577"/>
        <pc:sldMkLst>
          <pc:docMk/>
          <pc:sldMk cId="3582559601" sldId="1914"/>
        </pc:sldMkLst>
        <pc:spChg chg="mod">
          <ac:chgData name="Vikesh Chugani" userId="9c759398cfaae00f" providerId="LiveId" clId="{188A2CAA-441D-43D1-9C6E-D95DBDCCE6F2}" dt="2025-08-25T13:36:10.216" v="129" actId="20577"/>
          <ac:spMkLst>
            <pc:docMk/>
            <pc:sldMk cId="3582559601" sldId="1914"/>
            <ac:spMk id="3" creationId="{00000000-0000-0000-0000-000000000000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5" creationId="{7967B131-5F73-F009-1F31-674AD4C3F536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5" creationId="{D470A497-CE59-1AAF-3E9E-0E3C64FB0D77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6" creationId="{2176D9DC-E416-6C3B-55B6-5FC93F860014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6" creationId="{E20DD700-D2DE-8CB3-B6B0-D02261D97240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8" creationId="{96349E85-CC71-AEA4-D0E4-E70604D620BB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8" creationId="{F535C791-6400-4DBC-88E0-A59C1EB4352A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0" creationId="{9A5A799F-7485-670D-95A7-3C03107D75FE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10" creationId="{D6429F08-D8AD-3780-5C77-712283FB86B1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1" creationId="{7AA93678-9946-F7B4-1218-3A8722716A2C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11" creationId="{DB9FEAE5-FE74-8D1B-DF03-032B0F985A26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2" creationId="{4820B57E-AA6F-2C27-064D-10ABC716F6EE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12" creationId="{FBBD7D1A-BFB4-686F-4043-43D99359E3A4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4" creationId="{BC144DC3-B99B-FD3E-38AE-450159B5D645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6" creationId="{DDDD7061-886E-3004-DF44-C6C02AFD0149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17" creationId="{991A4F81-EBBF-F34B-F73D-371D10A4E3DA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20" creationId="{DB9A1199-7464-A343-E838-2E8F842C2CA2}"/>
          </ac:spMkLst>
        </pc:spChg>
        <pc:spChg chg="add mod">
          <ac:chgData name="Vikesh Chugani" userId="9c759398cfaae00f" providerId="LiveId" clId="{188A2CAA-441D-43D1-9C6E-D95DBDCCE6F2}" dt="2025-08-25T13:34:19.773" v="17"/>
          <ac:spMkLst>
            <pc:docMk/>
            <pc:sldMk cId="3582559601" sldId="1914"/>
            <ac:spMk id="22" creationId="{48572789-5A9D-99D7-102F-BF833C7FA6C7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23" creationId="{5989775E-8815-70FC-FBE8-94E82E939D79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26" creationId="{2E94CFA3-F589-8825-4E1B-6523F5929E25}"/>
          </ac:spMkLst>
        </pc:spChg>
        <pc:spChg chg="add mod">
          <ac:chgData name="Vikesh Chugani" userId="9c759398cfaae00f" providerId="LiveId" clId="{188A2CAA-441D-43D1-9C6E-D95DBDCCE6F2}" dt="2025-08-25T13:31:58.674" v="2"/>
          <ac:spMkLst>
            <pc:docMk/>
            <pc:sldMk cId="3582559601" sldId="1914"/>
            <ac:spMk id="27" creationId="{6D85707D-1E14-4134-3B04-D98EE7804EB9}"/>
          </ac:spMkLst>
        </pc:spChg>
      </pc:sldChg>
      <pc:sldChg chg="modSp add del mod">
        <pc:chgData name="Vikesh Chugani" userId="9c759398cfaae00f" providerId="LiveId" clId="{188A2CAA-441D-43D1-9C6E-D95DBDCCE6F2}" dt="2025-08-25T13:34:35.952" v="19" actId="47"/>
        <pc:sldMkLst>
          <pc:docMk/>
          <pc:sldMk cId="430953551" sldId="2204"/>
        </pc:sldMkLst>
        <pc:graphicFrameChg chg="mod">
          <ac:chgData name="Vikesh Chugani" userId="9c759398cfaae00f" providerId="LiveId" clId="{188A2CAA-441D-43D1-9C6E-D95DBDCCE6F2}" dt="2025-08-25T13:32:59.863" v="10"/>
          <ac:graphicFrameMkLst>
            <pc:docMk/>
            <pc:sldMk cId="430953551" sldId="2204"/>
            <ac:graphicFrameMk id="5" creationId="{5DF73FFD-6FA0-D898-9306-0B413EBD5210}"/>
          </ac:graphicFrameMkLst>
        </pc:graphicFrameChg>
      </pc:sldChg>
      <pc:sldChg chg="modSp add del mod">
        <pc:chgData name="Vikesh Chugani" userId="9c759398cfaae00f" providerId="LiveId" clId="{188A2CAA-441D-43D1-9C6E-D95DBDCCE6F2}" dt="2025-08-25T13:34:36.762" v="20" actId="47"/>
        <pc:sldMkLst>
          <pc:docMk/>
          <pc:sldMk cId="4019837296" sldId="2205"/>
        </pc:sldMkLst>
        <pc:graphicFrameChg chg="mod">
          <ac:chgData name="Vikesh Chugani" userId="9c759398cfaae00f" providerId="LiveId" clId="{188A2CAA-441D-43D1-9C6E-D95DBDCCE6F2}" dt="2025-08-25T13:33:00.969" v="15"/>
          <ac:graphicFrameMkLst>
            <pc:docMk/>
            <pc:sldMk cId="4019837296" sldId="2205"/>
            <ac:graphicFrameMk id="5" creationId="{DEDE778F-4148-E6BB-335B-9918AC584D47}"/>
          </ac:graphicFrameMkLst>
        </pc:graphicFrameChg>
      </pc:sldChg>
      <pc:sldChg chg="modSp add del mod">
        <pc:chgData name="Vikesh Chugani" userId="9c759398cfaae00f" providerId="LiveId" clId="{188A2CAA-441D-43D1-9C6E-D95DBDCCE6F2}" dt="2025-08-26T07:33:08.154" v="200" actId="47"/>
        <pc:sldMkLst>
          <pc:docMk/>
          <pc:sldMk cId="465750202" sldId="2320"/>
        </pc:sldMkLst>
        <pc:spChg chg="mod">
          <ac:chgData name="Vikesh Chugani" userId="9c759398cfaae00f" providerId="LiveId" clId="{188A2CAA-441D-43D1-9C6E-D95DBDCCE6F2}" dt="2025-08-26T07:31:10.077" v="137" actId="20577"/>
          <ac:spMkLst>
            <pc:docMk/>
            <pc:sldMk cId="465750202" sldId="2320"/>
            <ac:spMk id="8" creationId="{D8453111-1647-478D-A336-7D899CF4EAE0}"/>
          </ac:spMkLst>
        </pc:spChg>
      </pc:sldChg>
      <pc:sldMasterChg chg="addSldLayout delSldLayout">
        <pc:chgData name="Vikesh Chugani" userId="9c759398cfaae00f" providerId="LiveId" clId="{188A2CAA-441D-43D1-9C6E-D95DBDCCE6F2}" dt="2025-08-25T13:34:36.762" v="20" actId="47"/>
        <pc:sldMasterMkLst>
          <pc:docMk/>
          <pc:sldMasterMk cId="0" sldId="2147483648"/>
        </pc:sldMasterMkLst>
        <pc:sldLayoutChg chg="add del">
          <pc:chgData name="Vikesh Chugani" userId="9c759398cfaae00f" providerId="LiveId" clId="{188A2CAA-441D-43D1-9C6E-D95DBDCCE6F2}" dt="2025-08-25T13:34:36.762" v="20" actId="47"/>
          <pc:sldLayoutMkLst>
            <pc:docMk/>
            <pc:sldMasterMk cId="0" sldId="2147483648"/>
            <pc:sldLayoutMk cId="1843151154" sldId="2147483827"/>
          </pc:sldLayoutMkLst>
        </pc:sldLayoutChg>
      </pc:sldMasterChg>
    </pc:docChg>
  </pc:docChgLst>
  <pc:docChgLst>
    <pc:chgData name="Vikesh Chugani" userId="9c759398cfaae00f" providerId="LiveId" clId="{93B14FD8-A78B-41AE-80C9-362F1C9C9C40}"/>
    <pc:docChg chg="undo custSel addSld delSld modSld sldOrd modSection">
      <pc:chgData name="Vikesh Chugani" userId="9c759398cfaae00f" providerId="LiveId" clId="{93B14FD8-A78B-41AE-80C9-362F1C9C9C40}" dt="2025-08-21T10:54:06.079" v="2466" actId="47"/>
      <pc:docMkLst>
        <pc:docMk/>
      </pc:docMkLst>
      <pc:sldChg chg="del">
        <pc:chgData name="Vikesh Chugani" userId="9c759398cfaae00f" providerId="LiveId" clId="{93B14FD8-A78B-41AE-80C9-362F1C9C9C40}" dt="2025-08-20T15:11:43.822" v="5" actId="47"/>
        <pc:sldMkLst>
          <pc:docMk/>
          <pc:sldMk cId="0" sldId="256"/>
        </pc:sldMkLst>
      </pc:sldChg>
      <pc:sldChg chg="del">
        <pc:chgData name="Vikesh Chugani" userId="9c759398cfaae00f" providerId="LiveId" clId="{93B14FD8-A78B-41AE-80C9-362F1C9C9C40}" dt="2025-08-20T15:11:58.157" v="9" actId="47"/>
        <pc:sldMkLst>
          <pc:docMk/>
          <pc:sldMk cId="990182570" sldId="337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873868313" sldId="382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504111010" sldId="385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212138946" sldId="387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997537558" sldId="51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344106334" sldId="145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204641025" sldId="176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957612480" sldId="1843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138289792" sldId="185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831877885" sldId="1859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727476447" sldId="1862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4491966" sldId="186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353234795" sldId="186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7827664" sldId="1891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2188383503" sldId="1894"/>
        </pc:sldMkLst>
      </pc:sldChg>
      <pc:sldChg chg="delSp modSp mod modNotesTx">
        <pc:chgData name="Vikesh Chugani" userId="9c759398cfaae00f" providerId="LiveId" clId="{93B14FD8-A78B-41AE-80C9-362F1C9C9C40}" dt="2025-08-21T10:46:11.304" v="2446" actId="20577"/>
        <pc:sldMkLst>
          <pc:docMk/>
          <pc:sldMk cId="3582559601" sldId="1914"/>
        </pc:sldMkLst>
        <pc:spChg chg="mod">
          <ac:chgData name="Vikesh Chugani" userId="9c759398cfaae00f" providerId="LiveId" clId="{93B14FD8-A78B-41AE-80C9-362F1C9C9C40}" dt="2025-08-20T15:13:53.338" v="123" actId="20577"/>
          <ac:spMkLst>
            <pc:docMk/>
            <pc:sldMk cId="3582559601" sldId="1914"/>
            <ac:spMk id="3" creationId="{00000000-0000-0000-0000-000000000000}"/>
          </ac:spMkLst>
        </pc:spChg>
        <pc:spChg chg="mod">
          <ac:chgData name="Vikesh Chugani" userId="9c759398cfaae00f" providerId="LiveId" clId="{93B14FD8-A78B-41AE-80C9-362F1C9C9C40}" dt="2025-08-21T10:46:11.304" v="2446" actId="20577"/>
          <ac:spMkLst>
            <pc:docMk/>
            <pc:sldMk cId="3582559601" sldId="1914"/>
            <ac:spMk id="4" creationId="{00000000-0000-0000-0000-000000000000}"/>
          </ac:spMkLst>
        </pc:spChg>
        <pc:spChg chg="mod">
          <ac:chgData name="Vikesh Chugani" userId="9c759398cfaae00f" providerId="LiveId" clId="{93B14FD8-A78B-41AE-80C9-362F1C9C9C40}" dt="2025-08-20T15:12:11.600" v="38" actId="20577"/>
          <ac:spMkLst>
            <pc:docMk/>
            <pc:sldMk cId="3582559601" sldId="1914"/>
            <ac:spMk id="7" creationId="{AF1D6D72-CCF1-B9CD-2609-538EEA5E448F}"/>
          </ac:spMkLst>
        </pc:spChg>
        <pc:spChg chg="mod">
          <ac:chgData name="Vikesh Chugani" userId="9c759398cfaae00f" providerId="LiveId" clId="{93B14FD8-A78B-41AE-80C9-362F1C9C9C40}" dt="2025-08-20T15:13:32.386" v="118" actId="20577"/>
          <ac:spMkLst>
            <pc:docMk/>
            <pc:sldMk cId="3582559601" sldId="1914"/>
            <ac:spMk id="35" creationId="{AE0E9783-D7DC-7A58-2939-E293B21ABA31}"/>
          </ac:spMkLst>
        </pc:spChg>
        <pc:spChg chg="mod">
          <ac:chgData name="Vikesh Chugani" userId="9c759398cfaae00f" providerId="LiveId" clId="{93B14FD8-A78B-41AE-80C9-362F1C9C9C40}" dt="2025-08-20T15:13:24.828" v="115" actId="20577"/>
          <ac:spMkLst>
            <pc:docMk/>
            <pc:sldMk cId="3582559601" sldId="1914"/>
            <ac:spMk id="36" creationId="{0C588386-2350-F80B-959F-C54AABB464F4}"/>
          </ac:spMkLst>
        </pc:spChg>
        <pc:spChg chg="mod">
          <ac:chgData name="Vikesh Chugani" userId="9c759398cfaae00f" providerId="LiveId" clId="{93B14FD8-A78B-41AE-80C9-362F1C9C9C40}" dt="2025-08-20T15:12:37.308" v="63" actId="20577"/>
          <ac:spMkLst>
            <pc:docMk/>
            <pc:sldMk cId="3582559601" sldId="1914"/>
            <ac:spMk id="37" creationId="{53862FA2-5D99-7D85-D0F5-8ECF123169EC}"/>
          </ac:spMkLst>
        </pc:spChg>
        <pc:spChg chg="mod">
          <ac:chgData name="Vikesh Chugani" userId="9c759398cfaae00f" providerId="LiveId" clId="{93B14FD8-A78B-41AE-80C9-362F1C9C9C40}" dt="2025-08-20T15:12:45.859" v="67" actId="20577"/>
          <ac:spMkLst>
            <pc:docMk/>
            <pc:sldMk cId="3582559601" sldId="1914"/>
            <ac:spMk id="38" creationId="{209D493C-F55D-2DEC-33BA-B29D3B333932}"/>
          </ac:spMkLst>
        </pc:spChg>
        <pc:spChg chg="mod">
          <ac:chgData name="Vikesh Chugani" userId="9c759398cfaae00f" providerId="LiveId" clId="{93B14FD8-A78B-41AE-80C9-362F1C9C9C40}" dt="2025-08-20T15:12:56.257" v="83" actId="20577"/>
          <ac:spMkLst>
            <pc:docMk/>
            <pc:sldMk cId="3582559601" sldId="1914"/>
            <ac:spMk id="186" creationId="{9482A306-6EEE-7CA4-9F75-9FF400D10164}"/>
          </ac:spMkLst>
        </pc:spChg>
        <pc:spChg chg="mod">
          <ac:chgData name="Vikesh Chugani" userId="9c759398cfaae00f" providerId="LiveId" clId="{93B14FD8-A78B-41AE-80C9-362F1C9C9C40}" dt="2025-08-20T15:12:50.790" v="81" actId="20577"/>
          <ac:spMkLst>
            <pc:docMk/>
            <pc:sldMk cId="3582559601" sldId="1914"/>
            <ac:spMk id="187" creationId="{D8151708-CE93-46EB-8F13-A37F19A4F152}"/>
          </ac:spMkLst>
        </pc:spChg>
        <pc:spChg chg="mod">
          <ac:chgData name="Vikesh Chugani" userId="9c759398cfaae00f" providerId="LiveId" clId="{93B14FD8-A78B-41AE-80C9-362F1C9C9C40}" dt="2025-08-20T15:12:31.662" v="61" actId="20577"/>
          <ac:spMkLst>
            <pc:docMk/>
            <pc:sldMk cId="3582559601" sldId="1914"/>
            <ac:spMk id="188" creationId="{D991BFD1-38B5-F0C4-FB5A-EDF9E0548F3C}"/>
          </ac:spMkLst>
        </pc:spChg>
        <pc:spChg chg="mod">
          <ac:chgData name="Vikesh Chugani" userId="9c759398cfaae00f" providerId="LiveId" clId="{93B14FD8-A78B-41AE-80C9-362F1C9C9C40}" dt="2025-08-20T15:12:42.077" v="65" actId="20577"/>
          <ac:spMkLst>
            <pc:docMk/>
            <pc:sldMk cId="3582559601" sldId="1914"/>
            <ac:spMk id="189" creationId="{4F4492AA-2755-9802-4F8E-466AC053F823}"/>
          </ac:spMkLst>
        </pc:spChg>
        <pc:spChg chg="mod">
          <ac:chgData name="Vikesh Chugani" userId="9c759398cfaae00f" providerId="LiveId" clId="{93B14FD8-A78B-41AE-80C9-362F1C9C9C40}" dt="2025-08-20T15:13:20.421" v="113" actId="20577"/>
          <ac:spMkLst>
            <pc:docMk/>
            <pc:sldMk cId="3582559601" sldId="1914"/>
            <ac:spMk id="206" creationId="{0E7D30A5-EC3C-16D3-B372-373404C91098}"/>
          </ac:spMkLst>
        </pc:spChg>
        <pc:spChg chg="mod">
          <ac:chgData name="Vikesh Chugani" userId="9c759398cfaae00f" providerId="LiveId" clId="{93B14FD8-A78B-41AE-80C9-362F1C9C9C40}" dt="2025-08-20T15:13:01.011" v="85" actId="20577"/>
          <ac:spMkLst>
            <pc:docMk/>
            <pc:sldMk cId="3582559601" sldId="1914"/>
            <ac:spMk id="208" creationId="{C282A11E-C4B0-C399-E924-A0C7D85D6623}"/>
          </ac:spMkLst>
        </pc:spChg>
        <pc:spChg chg="mod">
          <ac:chgData name="Vikesh Chugani" userId="9c759398cfaae00f" providerId="LiveId" clId="{93B14FD8-A78B-41AE-80C9-362F1C9C9C40}" dt="2025-08-20T15:13:05.062" v="87" actId="20577"/>
          <ac:spMkLst>
            <pc:docMk/>
            <pc:sldMk cId="3582559601" sldId="1914"/>
            <ac:spMk id="217" creationId="{86EF35B1-CDE2-679D-1DC5-4B8F69033414}"/>
          </ac:spMkLst>
        </pc:spChg>
        <pc:spChg chg="mod">
          <ac:chgData name="Vikesh Chugani" userId="9c759398cfaae00f" providerId="LiveId" clId="{93B14FD8-A78B-41AE-80C9-362F1C9C9C40}" dt="2025-08-20T15:13:35.324" v="120" actId="20577"/>
          <ac:spMkLst>
            <pc:docMk/>
            <pc:sldMk cId="3582559601" sldId="1914"/>
            <ac:spMk id="226" creationId="{76991C3F-6F36-9093-678F-2F6BFA2BD8F5}"/>
          </ac:spMkLst>
        </pc:spChg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3922770403" sldId="191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36258358" sldId="1924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1592583382" sldId="2023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066991060" sldId="2108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86019051" sldId="2199"/>
        </pc:sldMkLst>
      </pc:sldChg>
      <pc:sldChg chg="addSp delSp modSp add del mod modNotesTx">
        <pc:chgData name="Vikesh Chugani" userId="9c759398cfaae00f" providerId="LiveId" clId="{93B14FD8-A78B-41AE-80C9-362F1C9C9C40}" dt="2025-08-21T10:54:06.079" v="2466" actId="47"/>
        <pc:sldMkLst>
          <pc:docMk/>
          <pc:sldMk cId="3332988729" sldId="2203"/>
        </pc:sldMkLst>
      </pc:sldChg>
      <pc:sldChg chg="addSp delSp modSp new mod ord">
        <pc:chgData name="Vikesh Chugani" userId="9c759398cfaae00f" providerId="LiveId" clId="{93B14FD8-A78B-41AE-80C9-362F1C9C9C40}" dt="2025-08-20T15:56:43.701" v="2432"/>
        <pc:sldMkLst>
          <pc:docMk/>
          <pc:sldMk cId="430953551" sldId="2204"/>
        </pc:sldMkLst>
      </pc:sldChg>
      <pc:sldChg chg="addSp delSp modSp add mod">
        <pc:chgData name="Vikesh Chugani" userId="9c759398cfaae00f" providerId="LiveId" clId="{93B14FD8-A78B-41AE-80C9-362F1C9C9C40}" dt="2025-08-21T10:50:14.198" v="2465" actId="1076"/>
        <pc:sldMkLst>
          <pc:docMk/>
          <pc:sldMk cId="4019837296" sldId="2205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412385012" sldId="2206"/>
        </pc:sldMkLst>
      </pc:sldChg>
      <pc:sldChg chg="del">
        <pc:chgData name="Vikesh Chugani" userId="9c759398cfaae00f" providerId="LiveId" clId="{93B14FD8-A78B-41AE-80C9-362F1C9C9C40}" dt="2025-08-20T15:11:36.362" v="0" actId="47"/>
        <pc:sldMkLst>
          <pc:docMk/>
          <pc:sldMk cId="903786285" sldId="2208"/>
        </pc:sldMkLst>
      </pc:sldChg>
      <pc:sldChg chg="del">
        <pc:chgData name="Vikesh Chugani" userId="9c759398cfaae00f" providerId="LiveId" clId="{93B14FD8-A78B-41AE-80C9-362F1C9C9C40}" dt="2025-08-20T15:11:47.610" v="6" actId="47"/>
        <pc:sldMkLst>
          <pc:docMk/>
          <pc:sldMk cId="88837280" sldId="2209"/>
        </pc:sldMkLst>
      </pc:sldChg>
      <pc:sldChg chg="del">
        <pc:chgData name="Vikesh Chugani" userId="9c759398cfaae00f" providerId="LiveId" clId="{93B14FD8-A78B-41AE-80C9-362F1C9C9C40}" dt="2025-08-20T15:11:59.022" v="10" actId="47"/>
        <pc:sldMkLst>
          <pc:docMk/>
          <pc:sldMk cId="2976705604" sldId="2210"/>
        </pc:sldMkLst>
      </pc:sldChg>
      <pc:sldMasterChg chg="addSldLayout delSldLayout">
        <pc:chgData name="Vikesh Chugani" userId="9c759398cfaae00f" providerId="LiveId" clId="{93B14FD8-A78B-41AE-80C9-362F1C9C9C40}" dt="2025-08-20T15:11:40.937" v="2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2595545123" sldId="2147483661"/>
          </pc:sldLayoutMkLst>
        </pc:sldLayoutChg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1925853391" sldId="2147483662"/>
          </pc:sldLayoutMkLst>
        </pc:sldLayoutChg>
        <pc:sldLayoutChg chg="del">
          <pc:chgData name="Vikesh Chugani" userId="9c759398cfaae00f" providerId="LiveId" clId="{93B14FD8-A78B-41AE-80C9-362F1C9C9C40}" dt="2025-08-20T15:11:36.362" v="0" actId="47"/>
          <pc:sldLayoutMkLst>
            <pc:docMk/>
            <pc:sldMasterMk cId="0" sldId="2147483648"/>
            <pc:sldLayoutMk cId="2926243512" sldId="2147483664"/>
          </pc:sldLayoutMkLst>
        </pc:sldLayoutChg>
        <pc:sldLayoutChg chg="add del">
          <pc:chgData name="Vikesh Chugani" userId="9c759398cfaae00f" providerId="LiveId" clId="{93B14FD8-A78B-41AE-80C9-362F1C9C9C40}" dt="2025-08-20T15:11:40.937" v="2" actId="47"/>
          <pc:sldLayoutMkLst>
            <pc:docMk/>
            <pc:sldMasterMk cId="0" sldId="2147483648"/>
            <pc:sldLayoutMk cId="1843151154" sldId="2147483827"/>
          </pc:sldLayoutMkLst>
        </pc:sldLayoutChg>
      </pc:sldMasterChg>
    </pc:docChg>
  </pc:docChgLst>
  <pc:docChgLst>
    <pc:chgData name="Vikesh Chugani" userId="9c759398cfaae00f" providerId="LiveId" clId="{07CA10FD-78FC-4FDA-8BEE-577F158A1396}"/>
    <pc:docChg chg="undo redo custSel addSld delSld modSld sldOrd addMainMaster delMainMaster modMainMaster modSection replTag">
      <pc:chgData name="Vikesh Chugani" userId="9c759398cfaae00f" providerId="LiveId" clId="{07CA10FD-78FC-4FDA-8BEE-577F158A1396}" dt="2024-08-19T11:43:55.007" v="106854" actId="729"/>
      <pc:docMkLst>
        <pc:docMk/>
      </pc:docMkLst>
      <pc:sldChg chg="modSp mod modNotesTx">
        <pc:chgData name="Vikesh Chugani" userId="9c759398cfaae00f" providerId="LiveId" clId="{07CA10FD-78FC-4FDA-8BEE-577F158A1396}" dt="2024-08-15T13:23:54.944" v="99916" actId="20577"/>
        <pc:sldMkLst>
          <pc:docMk/>
          <pc:sldMk cId="0" sldId="256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7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8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59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0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1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2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3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4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5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6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7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8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69"/>
        </pc:sldMkLst>
      </pc:sldChg>
      <pc:sldChg chg="del">
        <pc:chgData name="Vikesh Chugani" userId="9c759398cfaae00f" providerId="LiveId" clId="{07CA10FD-78FC-4FDA-8BEE-577F158A1396}" dt="2024-08-08T14:40:00.838" v="44361" actId="47"/>
        <pc:sldMkLst>
          <pc:docMk/>
          <pc:sldMk cId="0" sldId="270"/>
        </pc:sldMkLst>
      </pc:sldChg>
      <pc:sldChg chg="modSp mod ord modShow modNotesTx">
        <pc:chgData name="Vikesh Chugani" userId="9c759398cfaae00f" providerId="LiveId" clId="{07CA10FD-78FC-4FDA-8BEE-577F158A1396}" dt="2024-08-13T15:15:23.661" v="91178" actId="729"/>
        <pc:sldMkLst>
          <pc:docMk/>
          <pc:sldMk cId="0" sldId="306"/>
        </pc:sldMkLst>
      </pc:sldChg>
      <pc:sldChg chg="addSp delSp modSp mod ord modNotesTx">
        <pc:chgData name="Vikesh Chugani" userId="9c759398cfaae00f" providerId="LiveId" clId="{07CA10FD-78FC-4FDA-8BEE-577F158A1396}" dt="2024-08-19T11:32:10.806" v="105990" actId="20577"/>
        <pc:sldMkLst>
          <pc:docMk/>
          <pc:sldMk cId="0" sldId="307"/>
        </pc:sldMkLst>
      </pc:sldChg>
      <pc:sldChg chg="mod ord modShow">
        <pc:chgData name="Vikesh Chugani" userId="9c759398cfaae00f" providerId="LiveId" clId="{07CA10FD-78FC-4FDA-8BEE-577F158A1396}" dt="2024-08-13T15:15:26.347" v="91179" actId="729"/>
        <pc:sldMkLst>
          <pc:docMk/>
          <pc:sldMk cId="0" sldId="308"/>
        </pc:sldMkLst>
      </pc:sldChg>
      <pc:sldChg chg="addSp delSp modSp mod ord modNotesTx">
        <pc:chgData name="Vikesh Chugani" userId="9c759398cfaae00f" providerId="LiveId" clId="{07CA10FD-78FC-4FDA-8BEE-577F158A1396}" dt="2024-08-13T15:35:18.234" v="98824" actId="20577"/>
        <pc:sldMkLst>
          <pc:docMk/>
          <pc:sldMk cId="0" sldId="309"/>
        </pc:sldMkLst>
      </pc:sldChg>
      <pc:sldChg chg="mod modShow">
        <pc:chgData name="Vikesh Chugani" userId="9c759398cfaae00f" providerId="LiveId" clId="{07CA10FD-78FC-4FDA-8BEE-577F158A1396}" dt="2024-07-28T21:07:29.775" v="11280" actId="729"/>
        <pc:sldMkLst>
          <pc:docMk/>
          <pc:sldMk cId="0" sldId="310"/>
        </pc:sldMkLst>
      </pc:sldChg>
      <pc:sldChg chg="addSp delSp modSp mod modShow">
        <pc:chgData name="Vikesh Chugani" userId="9c759398cfaae00f" providerId="LiveId" clId="{07CA10FD-78FC-4FDA-8BEE-577F158A1396}" dt="2024-08-08T17:55:46.456" v="63005" actId="478"/>
        <pc:sldMkLst>
          <pc:docMk/>
          <pc:sldMk cId="0" sldId="311"/>
        </pc:sldMkLst>
      </pc:sldChg>
      <pc:sldChg chg="modSp add del mod modShow">
        <pc:chgData name="Vikesh Chugani" userId="9c759398cfaae00f" providerId="LiveId" clId="{07CA10FD-78FC-4FDA-8BEE-577F158A1396}" dt="2024-08-15T15:37:19.887" v="103637"/>
        <pc:sldMkLst>
          <pc:docMk/>
          <pc:sldMk cId="0" sldId="312"/>
        </pc:sldMkLst>
      </pc:sldChg>
      <pc:sldChg chg="modSp add del mod modShow">
        <pc:chgData name="Vikesh Chugani" userId="9c759398cfaae00f" providerId="LiveId" clId="{07CA10FD-78FC-4FDA-8BEE-577F158A1396}" dt="2024-08-15T15:37:18.863" v="103634"/>
        <pc:sldMkLst>
          <pc:docMk/>
          <pc:sldMk cId="0" sldId="313"/>
        </pc:sldMkLst>
      </pc:sldChg>
      <pc:sldChg chg="mod ord modShow">
        <pc:chgData name="Vikesh Chugani" userId="9c759398cfaae00f" providerId="LiveId" clId="{07CA10FD-78FC-4FDA-8BEE-577F158A1396}" dt="2024-08-08T17:49:39.233" v="62929"/>
        <pc:sldMkLst>
          <pc:docMk/>
          <pc:sldMk cId="1775406622" sldId="359"/>
        </pc:sldMkLst>
      </pc:sldChg>
      <pc:sldChg chg="addSp delSp modSp mod ord modShow modNotesTx">
        <pc:chgData name="Vikesh Chugani" userId="9c759398cfaae00f" providerId="LiveId" clId="{07CA10FD-78FC-4FDA-8BEE-577F158A1396}" dt="2024-08-19T09:52:58.655" v="103699" actId="20577"/>
        <pc:sldMkLst>
          <pc:docMk/>
          <pc:sldMk cId="2873868313" sldId="382"/>
        </pc:sldMkLst>
      </pc:sldChg>
      <pc:sldChg chg="del mod modShow">
        <pc:chgData name="Vikesh Chugani" userId="9c759398cfaae00f" providerId="LiveId" clId="{07CA10FD-78FC-4FDA-8BEE-577F158A1396}" dt="2024-08-15T15:37:38.454" v="103642" actId="47"/>
        <pc:sldMkLst>
          <pc:docMk/>
          <pc:sldMk cId="4220512071" sldId="448"/>
        </pc:sldMkLst>
      </pc:sldChg>
      <pc:sldChg chg="delSp modSp add del mod ord modShow">
        <pc:chgData name="Vikesh Chugani" userId="9c759398cfaae00f" providerId="LiveId" clId="{07CA10FD-78FC-4FDA-8BEE-577F158A1396}" dt="2024-08-08T17:50:10.247" v="62940"/>
        <pc:sldMkLst>
          <pc:docMk/>
          <pc:sldMk cId="2706074010" sldId="461"/>
        </pc:sldMkLst>
      </pc:sldChg>
      <pc:sldChg chg="del">
        <pc:chgData name="Vikesh Chugani" userId="9c759398cfaae00f" providerId="LiveId" clId="{07CA10FD-78FC-4FDA-8BEE-577F158A1396}" dt="2024-07-23T23:13:31.203" v="7981" actId="47"/>
        <pc:sldMkLst>
          <pc:docMk/>
          <pc:sldMk cId="379347412" sldId="462"/>
        </pc:sldMkLst>
      </pc:sldChg>
      <pc:sldChg chg="del">
        <pc:chgData name="Vikesh Chugani" userId="9c759398cfaae00f" providerId="LiveId" clId="{07CA10FD-78FC-4FDA-8BEE-577F158A1396}" dt="2024-07-19T13:04:33.821" v="6451" actId="47"/>
        <pc:sldMkLst>
          <pc:docMk/>
          <pc:sldMk cId="2766041829" sldId="499"/>
        </pc:sldMkLst>
      </pc:sldChg>
      <pc:sldChg chg="del">
        <pc:chgData name="Vikesh Chugani" userId="9c759398cfaae00f" providerId="LiveId" clId="{07CA10FD-78FC-4FDA-8BEE-577F158A1396}" dt="2024-08-15T15:37:35.079" v="103639" actId="47"/>
        <pc:sldMkLst>
          <pc:docMk/>
          <pc:sldMk cId="1098354899" sldId="513"/>
        </pc:sldMkLst>
      </pc:sldChg>
      <pc:sldChg chg="del">
        <pc:chgData name="Vikesh Chugani" userId="9c759398cfaae00f" providerId="LiveId" clId="{07CA10FD-78FC-4FDA-8BEE-577F158A1396}" dt="2024-07-19T13:00:06.395" v="4233" actId="47"/>
        <pc:sldMkLst>
          <pc:docMk/>
          <pc:sldMk cId="3060609046" sldId="513"/>
        </pc:sldMkLst>
      </pc:sldChg>
      <pc:sldChg chg="addSp delSp modSp mod modNotesTx">
        <pc:chgData name="Vikesh Chugani" userId="9c759398cfaae00f" providerId="LiveId" clId="{07CA10FD-78FC-4FDA-8BEE-577F158A1396}" dt="2024-08-19T10:31:36.515" v="104118" actId="6549"/>
        <pc:sldMkLst>
          <pc:docMk/>
          <pc:sldMk cId="1997537558" sldId="514"/>
        </pc:sldMkLst>
      </pc:sldChg>
      <pc:sldChg chg="addSp delSp modSp del mod">
        <pc:chgData name="Vikesh Chugani" userId="9c759398cfaae00f" providerId="LiveId" clId="{07CA10FD-78FC-4FDA-8BEE-577F158A1396}" dt="2024-07-19T12:33:43.881" v="1216" actId="47"/>
        <pc:sldMkLst>
          <pc:docMk/>
          <pc:sldMk cId="3922589586" sldId="515"/>
        </pc:sldMkLst>
      </pc:sldChg>
      <pc:sldChg chg="del">
        <pc:chgData name="Vikesh Chugani" userId="9c759398cfaae00f" providerId="LiveId" clId="{07CA10FD-78FC-4FDA-8BEE-577F158A1396}" dt="2024-08-15T15:37:36.256" v="103640" actId="47"/>
        <pc:sldMkLst>
          <pc:docMk/>
          <pc:sldMk cId="3375247243" sldId="517"/>
        </pc:sldMkLst>
      </pc:sldChg>
      <pc:sldChg chg="del mod modShow">
        <pc:chgData name="Vikesh Chugani" userId="9c759398cfaae00f" providerId="LiveId" clId="{07CA10FD-78FC-4FDA-8BEE-577F158A1396}" dt="2024-08-15T15:37:39.457" v="103643" actId="47"/>
        <pc:sldMkLst>
          <pc:docMk/>
          <pc:sldMk cId="1237122441" sldId="519"/>
        </pc:sldMkLst>
      </pc:sldChg>
      <pc:sldChg chg="del">
        <pc:chgData name="Vikesh Chugani" userId="9c759398cfaae00f" providerId="LiveId" clId="{07CA10FD-78FC-4FDA-8BEE-577F158A1396}" dt="2024-07-28T21:26:26.602" v="16797" actId="47"/>
        <pc:sldMkLst>
          <pc:docMk/>
          <pc:sldMk cId="4070745935" sldId="526"/>
        </pc:sldMkLst>
      </pc:sldChg>
      <pc:sldChg chg="modSp mod modNotesTx">
        <pc:chgData name="Vikesh Chugani" userId="9c759398cfaae00f" providerId="LiveId" clId="{07CA10FD-78FC-4FDA-8BEE-577F158A1396}" dt="2024-08-15T14:51:08.177" v="101751"/>
        <pc:sldMkLst>
          <pc:docMk/>
          <pc:sldMk cId="232353031" sldId="547"/>
        </pc:sldMkLst>
      </pc:sldChg>
      <pc:sldChg chg="modNotesTx">
        <pc:chgData name="Vikesh Chugani" userId="9c759398cfaae00f" providerId="LiveId" clId="{07CA10FD-78FC-4FDA-8BEE-577F158A1396}" dt="2024-08-19T11:27:18.733" v="105883" actId="20577"/>
        <pc:sldMkLst>
          <pc:docMk/>
          <pc:sldMk cId="870430930" sldId="550"/>
        </pc:sldMkLst>
      </pc:sldChg>
      <pc:sldChg chg="addSp delSp modSp mod ord modNotesTx">
        <pc:chgData name="Vikesh Chugani" userId="9c759398cfaae00f" providerId="LiveId" clId="{07CA10FD-78FC-4FDA-8BEE-577F158A1396}" dt="2024-08-19T11:43:47.934" v="106853" actId="20577"/>
        <pc:sldMkLst>
          <pc:docMk/>
          <pc:sldMk cId="2241106778" sldId="554"/>
        </pc:sldMkLst>
      </pc:sldChg>
      <pc:sldChg chg="mod modShow">
        <pc:chgData name="Vikesh Chugani" userId="9c759398cfaae00f" providerId="LiveId" clId="{07CA10FD-78FC-4FDA-8BEE-577F158A1396}" dt="2024-08-08T17:51:00.886" v="62947" actId="729"/>
        <pc:sldMkLst>
          <pc:docMk/>
          <pc:sldMk cId="1148439823" sldId="557"/>
        </pc:sldMkLst>
      </pc:sldChg>
      <pc:sldChg chg="modSp mod ord modNotesTx">
        <pc:chgData name="Vikesh Chugani" userId="9c759398cfaae00f" providerId="LiveId" clId="{07CA10FD-78FC-4FDA-8BEE-577F158A1396}" dt="2024-08-08T17:49:44.894" v="62930"/>
        <pc:sldMkLst>
          <pc:docMk/>
          <pc:sldMk cId="3399892931" sldId="568"/>
        </pc:sldMkLst>
      </pc:sldChg>
      <pc:sldChg chg="modSp mod ord modNotesTx">
        <pc:chgData name="Vikesh Chugani" userId="9c759398cfaae00f" providerId="LiveId" clId="{07CA10FD-78FC-4FDA-8BEE-577F158A1396}" dt="2024-08-19T10:12:12.755" v="103754" actId="20577"/>
        <pc:sldMkLst>
          <pc:docMk/>
          <pc:sldMk cId="1171548870" sldId="576"/>
        </pc:sldMkLst>
      </pc:sldChg>
      <pc:sldChg chg="del ord">
        <pc:chgData name="Vikesh Chugani" userId="9c759398cfaae00f" providerId="LiveId" clId="{07CA10FD-78FC-4FDA-8BEE-577F158A1396}" dt="2024-07-28T21:26:23.392" v="16796" actId="47"/>
        <pc:sldMkLst>
          <pc:docMk/>
          <pc:sldMk cId="3387515160" sldId="1437"/>
        </pc:sldMkLst>
      </pc:sldChg>
      <pc:sldChg chg="modSp add del mod ord modShow">
        <pc:chgData name="Vikesh Chugani" userId="9c759398cfaae00f" providerId="LiveId" clId="{07CA10FD-78FC-4FDA-8BEE-577F158A1396}" dt="2024-08-15T15:36:57.531" v="103624"/>
        <pc:sldMkLst>
          <pc:docMk/>
          <pc:sldMk cId="492950247" sldId="1442"/>
        </pc:sldMkLst>
      </pc:sldChg>
      <pc:sldChg chg="modNotesTx">
        <pc:chgData name="Vikesh Chugani" userId="9c759398cfaae00f" providerId="LiveId" clId="{07CA10FD-78FC-4FDA-8BEE-577F158A1396}" dt="2024-08-08T14:50:45.429" v="45346" actId="20577"/>
        <pc:sldMkLst>
          <pc:docMk/>
          <pc:sldMk cId="2344106334" sldId="1458"/>
        </pc:sldMkLst>
      </pc:sldChg>
      <pc:sldChg chg="modSp mod ord modShow">
        <pc:chgData name="Vikesh Chugani" userId="9c759398cfaae00f" providerId="LiveId" clId="{07CA10FD-78FC-4FDA-8BEE-577F158A1396}" dt="2024-08-19T11:43:55.007" v="106854" actId="729"/>
        <pc:sldMkLst>
          <pc:docMk/>
          <pc:sldMk cId="4055912385" sldId="1462"/>
        </pc:sldMkLst>
      </pc:sldChg>
      <pc:sldChg chg="ord">
        <pc:chgData name="Vikesh Chugani" userId="9c759398cfaae00f" providerId="LiveId" clId="{07CA10FD-78FC-4FDA-8BEE-577F158A1396}" dt="2024-08-08T17:48:43.435" v="62921"/>
        <pc:sldMkLst>
          <pc:docMk/>
          <pc:sldMk cId="1363970311" sldId="1472"/>
        </pc:sldMkLst>
      </pc:sldChg>
      <pc:sldChg chg="mod modShow">
        <pc:chgData name="Vikesh Chugani" userId="9c759398cfaae00f" providerId="LiveId" clId="{07CA10FD-78FC-4FDA-8BEE-577F158A1396}" dt="2024-08-08T17:47:34.162" v="62911" actId="729"/>
        <pc:sldMkLst>
          <pc:docMk/>
          <pc:sldMk cId="2902647541" sldId="1473"/>
        </pc:sldMkLst>
      </pc:sldChg>
      <pc:sldChg chg="modSp del mod">
        <pc:chgData name="Vikesh Chugani" userId="9c759398cfaae00f" providerId="LiveId" clId="{07CA10FD-78FC-4FDA-8BEE-577F158A1396}" dt="2024-08-08T17:47:37.762" v="62912" actId="47"/>
        <pc:sldMkLst>
          <pc:docMk/>
          <pc:sldMk cId="2695860754" sldId="1474"/>
        </pc:sldMkLst>
      </pc:sldChg>
      <pc:sldChg chg="mod modShow">
        <pc:chgData name="Vikesh Chugani" userId="9c759398cfaae00f" providerId="LiveId" clId="{07CA10FD-78FC-4FDA-8BEE-577F158A1396}" dt="2024-08-08T17:47:30.926" v="62909" actId="729"/>
        <pc:sldMkLst>
          <pc:docMk/>
          <pc:sldMk cId="3213568042" sldId="1477"/>
        </pc:sldMkLst>
      </pc:sldChg>
      <pc:sldChg chg="mod modShow">
        <pc:chgData name="Vikesh Chugani" userId="9c759398cfaae00f" providerId="LiveId" clId="{07CA10FD-78FC-4FDA-8BEE-577F158A1396}" dt="2024-08-08T17:47:32.575" v="62910" actId="729"/>
        <pc:sldMkLst>
          <pc:docMk/>
          <pc:sldMk cId="601220448" sldId="1478"/>
        </pc:sldMkLst>
      </pc:sldChg>
      <pc:sldChg chg="addSp modSp del mod">
        <pc:chgData name="Vikesh Chugani" userId="9c759398cfaae00f" providerId="LiveId" clId="{07CA10FD-78FC-4FDA-8BEE-577F158A1396}" dt="2024-07-19T12:46:26.572" v="4093" actId="47"/>
        <pc:sldMkLst>
          <pc:docMk/>
          <pc:sldMk cId="1489384975" sldId="1481"/>
        </pc:sldMkLst>
      </pc:sldChg>
      <pc:sldChg chg="del">
        <pc:chgData name="Vikesh Chugani" userId="9c759398cfaae00f" providerId="LiveId" clId="{07CA10FD-78FC-4FDA-8BEE-577F158A1396}" dt="2024-08-08T17:47:53.087" v="62915" actId="47"/>
        <pc:sldMkLst>
          <pc:docMk/>
          <pc:sldMk cId="3973682287" sldId="1571"/>
        </pc:sldMkLst>
      </pc:sldChg>
      <pc:sldChg chg="del">
        <pc:chgData name="Vikesh Chugani" userId="9c759398cfaae00f" providerId="LiveId" clId="{07CA10FD-78FC-4FDA-8BEE-577F158A1396}" dt="2024-08-08T17:47:51.751" v="62914" actId="47"/>
        <pc:sldMkLst>
          <pc:docMk/>
          <pc:sldMk cId="1111055924" sldId="1578"/>
        </pc:sldMkLst>
      </pc:sldChg>
      <pc:sldChg chg="del">
        <pc:chgData name="Vikesh Chugani" userId="9c759398cfaae00f" providerId="LiveId" clId="{07CA10FD-78FC-4FDA-8BEE-577F158A1396}" dt="2024-07-28T21:26:33.788" v="16798" actId="47"/>
        <pc:sldMkLst>
          <pc:docMk/>
          <pc:sldMk cId="502810867" sldId="1618"/>
        </pc:sldMkLst>
      </pc:sldChg>
      <pc:sldChg chg="modSp mod">
        <pc:chgData name="Vikesh Chugani" userId="9c759398cfaae00f" providerId="LiveId" clId="{07CA10FD-78FC-4FDA-8BEE-577F158A1396}" dt="2024-07-19T11:58:25.722" v="3"/>
        <pc:sldMkLst>
          <pc:docMk/>
          <pc:sldMk cId="1658367357" sldId="1639"/>
        </pc:sldMkLst>
      </pc:sldChg>
      <pc:sldChg chg="addSp delSp modSp del mod">
        <pc:chgData name="Vikesh Chugani" userId="9c759398cfaae00f" providerId="LiveId" clId="{07CA10FD-78FC-4FDA-8BEE-577F158A1396}" dt="2024-07-28T21:41:39.120" v="31527" actId="47"/>
        <pc:sldMkLst>
          <pc:docMk/>
          <pc:sldMk cId="769778329" sldId="1647"/>
        </pc:sldMkLst>
      </pc:sldChg>
      <pc:sldChg chg="addSp modSp mod">
        <pc:chgData name="Vikesh Chugani" userId="9c759398cfaae00f" providerId="LiveId" clId="{07CA10FD-78FC-4FDA-8BEE-577F158A1396}" dt="2024-07-19T12:14:13.724" v="340" actId="403"/>
        <pc:sldMkLst>
          <pc:docMk/>
          <pc:sldMk cId="3507828339" sldId="1647"/>
        </pc:sldMkLst>
      </pc:sldChg>
      <pc:sldChg chg="modNotesTx">
        <pc:chgData name="Vikesh Chugani" userId="9c759398cfaae00f" providerId="LiveId" clId="{07CA10FD-78FC-4FDA-8BEE-577F158A1396}" dt="2024-08-15T14:59:46.741" v="101909" actId="20577"/>
        <pc:sldMkLst>
          <pc:docMk/>
          <pc:sldMk cId="610267048" sldId="1653"/>
        </pc:sldMkLst>
      </pc:sldChg>
      <pc:sldChg chg="addSp delSp modSp del mod">
        <pc:chgData name="Vikesh Chugani" userId="9c759398cfaae00f" providerId="LiveId" clId="{07CA10FD-78FC-4FDA-8BEE-577F158A1396}" dt="2024-08-08T15:29:39.703" v="48258" actId="47"/>
        <pc:sldMkLst>
          <pc:docMk/>
          <pc:sldMk cId="291619031" sldId="1654"/>
        </pc:sldMkLst>
      </pc:sldChg>
      <pc:sldChg chg="modSp mod">
        <pc:chgData name="Vikesh Chugani" userId="9c759398cfaae00f" providerId="LiveId" clId="{07CA10FD-78FC-4FDA-8BEE-577F158A1396}" dt="2024-07-19T12:10:26.004" v="144" actId="20577"/>
        <pc:sldMkLst>
          <pc:docMk/>
          <pc:sldMk cId="1102206942" sldId="1656"/>
        </pc:sldMkLst>
      </pc:sldChg>
      <pc:sldChg chg="addSp delSp modSp mod modNotesTx">
        <pc:chgData name="Vikesh Chugani" userId="9c759398cfaae00f" providerId="LiveId" clId="{07CA10FD-78FC-4FDA-8BEE-577F158A1396}" dt="2024-08-19T11:08:22.184" v="105608" actId="20577"/>
        <pc:sldMkLst>
          <pc:docMk/>
          <pc:sldMk cId="766010963" sldId="1678"/>
        </pc:sldMkLst>
      </pc:sldChg>
      <pc:sldChg chg="modSp del mod modShow">
        <pc:chgData name="Vikesh Chugani" userId="9c759398cfaae00f" providerId="LiveId" clId="{07CA10FD-78FC-4FDA-8BEE-577F158A1396}" dt="2024-08-15T15:37:37.400" v="103641" actId="47"/>
        <pc:sldMkLst>
          <pc:docMk/>
          <pc:sldMk cId="2009943825" sldId="1682"/>
        </pc:sldMkLst>
      </pc:sldChg>
      <pc:sldChg chg="addSp delSp modSp add del mod ord modShow modNotesTx">
        <pc:chgData name="Vikesh Chugani" userId="9c759398cfaae00f" providerId="LiveId" clId="{07CA10FD-78FC-4FDA-8BEE-577F158A1396}" dt="2024-08-15T15:36:58.501" v="103627"/>
        <pc:sldMkLst>
          <pc:docMk/>
          <pc:sldMk cId="4022447760" sldId="1690"/>
        </pc:sldMkLst>
      </pc:sldChg>
      <pc:sldChg chg="ord">
        <pc:chgData name="Vikesh Chugani" userId="9c759398cfaae00f" providerId="LiveId" clId="{07CA10FD-78FC-4FDA-8BEE-577F158A1396}" dt="2024-07-19T12:11:31.423" v="237"/>
        <pc:sldMkLst>
          <pc:docMk/>
          <pc:sldMk cId="787779498" sldId="1692"/>
        </pc:sldMkLst>
      </pc:sldChg>
      <pc:sldChg chg="ord modNotesTx">
        <pc:chgData name="Vikesh Chugani" userId="9c759398cfaae00f" providerId="LiveId" clId="{07CA10FD-78FC-4FDA-8BEE-577F158A1396}" dt="2024-08-19T11:37:35.344" v="106049" actId="20577"/>
        <pc:sldMkLst>
          <pc:docMk/>
          <pc:sldMk cId="759465604" sldId="1693"/>
        </pc:sldMkLst>
      </pc:sldChg>
      <pc:sldChg chg="ord modNotesTx">
        <pc:chgData name="Vikesh Chugani" userId="9c759398cfaae00f" providerId="LiveId" clId="{07CA10FD-78FC-4FDA-8BEE-577F158A1396}" dt="2024-08-19T11:38:34.006" v="106050"/>
        <pc:sldMkLst>
          <pc:docMk/>
          <pc:sldMk cId="2564190797" sldId="1694"/>
        </pc:sldMkLst>
      </pc:sldChg>
      <pc:sldChg chg="addSp delSp modSp mod ord modNotesTx">
        <pc:chgData name="Vikesh Chugani" userId="9c759398cfaae00f" providerId="LiveId" clId="{07CA10FD-78FC-4FDA-8BEE-577F158A1396}" dt="2024-08-19T11:40:05.549" v="106252" actId="20577"/>
        <pc:sldMkLst>
          <pc:docMk/>
          <pc:sldMk cId="3983337660" sldId="1695"/>
        </pc:sldMkLst>
      </pc:sldChg>
      <pc:sldChg chg="del mod modShow">
        <pc:chgData name="Vikesh Chugani" userId="9c759398cfaae00f" providerId="LiveId" clId="{07CA10FD-78FC-4FDA-8BEE-577F158A1396}" dt="2024-08-15T15:37:29.882" v="103638" actId="47"/>
        <pc:sldMkLst>
          <pc:docMk/>
          <pc:sldMk cId="112850126" sldId="1697"/>
        </pc:sldMkLst>
      </pc:sldChg>
      <pc:sldChg chg="addSp modSp del mod">
        <pc:chgData name="Vikesh Chugani" userId="9c759398cfaae00f" providerId="LiveId" clId="{07CA10FD-78FC-4FDA-8BEE-577F158A1396}" dt="2024-08-08T17:56:48.326" v="63011" actId="47"/>
        <pc:sldMkLst>
          <pc:docMk/>
          <pc:sldMk cId="1282221444" sldId="1698"/>
        </pc:sldMkLst>
      </pc:sldChg>
      <pc:sldChg chg="ord">
        <pc:chgData name="Vikesh Chugani" userId="9c759398cfaae00f" providerId="LiveId" clId="{07CA10FD-78FC-4FDA-8BEE-577F158A1396}" dt="2024-08-13T15:52:04.580" v="99791"/>
        <pc:sldMkLst>
          <pc:docMk/>
          <pc:sldMk cId="2509261614" sldId="1699"/>
        </pc:sldMkLst>
      </pc:sldChg>
      <pc:sldChg chg="modNotesTx">
        <pc:chgData name="Vikesh Chugani" userId="9c759398cfaae00f" providerId="LiveId" clId="{07CA10FD-78FC-4FDA-8BEE-577F158A1396}" dt="2024-08-19T11:15:42.720" v="105750" actId="20577"/>
        <pc:sldMkLst>
          <pc:docMk/>
          <pc:sldMk cId="2964524841" sldId="1700"/>
        </pc:sldMkLst>
      </pc:sldChg>
      <pc:sldChg chg="ord">
        <pc:chgData name="Vikesh Chugani" userId="9c759398cfaae00f" providerId="LiveId" clId="{07CA10FD-78FC-4FDA-8BEE-577F158A1396}" dt="2024-07-28T20:30:53.771" v="8003"/>
        <pc:sldMkLst>
          <pc:docMk/>
          <pc:sldMk cId="3138668389" sldId="1700"/>
        </pc:sldMkLst>
      </pc:sldChg>
      <pc:sldChg chg="modSp mod">
        <pc:chgData name="Vikesh Chugani" userId="9c759398cfaae00f" providerId="LiveId" clId="{07CA10FD-78FC-4FDA-8BEE-577F158A1396}" dt="2024-08-15T15:34:55.575" v="103617"/>
        <pc:sldMkLst>
          <pc:docMk/>
          <pc:sldMk cId="2349657795" sldId="1794"/>
        </pc:sldMkLst>
      </pc:sldChg>
      <pc:sldChg chg="del ord">
        <pc:chgData name="Vikesh Chugani" userId="9c759398cfaae00f" providerId="LiveId" clId="{07CA10FD-78FC-4FDA-8BEE-577F158A1396}" dt="2024-08-08T17:49:46.312" v="62931" actId="47"/>
        <pc:sldMkLst>
          <pc:docMk/>
          <pc:sldMk cId="542501198" sldId="1842"/>
        </pc:sldMkLst>
      </pc:sldChg>
      <pc:sldChg chg="modNotesTx">
        <pc:chgData name="Vikesh Chugani" userId="9c759398cfaae00f" providerId="LiveId" clId="{07CA10FD-78FC-4FDA-8BEE-577F158A1396}" dt="2024-08-15T13:26:49.001" v="100017" actId="20577"/>
        <pc:sldMkLst>
          <pc:docMk/>
          <pc:sldMk cId="1957612480" sldId="1843"/>
        </pc:sldMkLst>
      </pc:sldChg>
      <pc:sldChg chg="addSp modSp mod modShow">
        <pc:chgData name="Vikesh Chugani" userId="9c759398cfaae00f" providerId="LiveId" clId="{07CA10FD-78FC-4FDA-8BEE-577F158A1396}" dt="2024-07-19T15:10:11.361" v="6969" actId="729"/>
        <pc:sldMkLst>
          <pc:docMk/>
          <pc:sldMk cId="2967117034" sldId="1852"/>
        </pc:sldMkLst>
      </pc:sldChg>
      <pc:sldChg chg="addSp delSp modSp new del mod">
        <pc:chgData name="Vikesh Chugani" userId="9c759398cfaae00f" providerId="LiveId" clId="{07CA10FD-78FC-4FDA-8BEE-577F158A1396}" dt="2024-08-07T13:36:30.666" v="31535" actId="47"/>
        <pc:sldMkLst>
          <pc:docMk/>
          <pc:sldMk cId="1551945400" sldId="1854"/>
        </pc:sldMkLst>
      </pc:sldChg>
      <pc:sldChg chg="modSp new del mod">
        <pc:chgData name="Vikesh Chugani" userId="9c759398cfaae00f" providerId="LiveId" clId="{07CA10FD-78FC-4FDA-8BEE-577F158A1396}" dt="2024-08-08T17:47:58.557" v="62916" actId="47"/>
        <pc:sldMkLst>
          <pc:docMk/>
          <pc:sldMk cId="1377128013" sldId="1855"/>
        </pc:sldMkLst>
      </pc:sldChg>
      <pc:sldChg chg="addSp delSp modSp new mod modNotesTx">
        <pc:chgData name="Vikesh Chugani" userId="9c759398cfaae00f" providerId="LiveId" clId="{07CA10FD-78FC-4FDA-8BEE-577F158A1396}" dt="2024-08-19T10:48:11.875" v="104464" actId="20577"/>
        <pc:sldMkLst>
          <pc:docMk/>
          <pc:sldMk cId="2153535519" sldId="1856"/>
        </pc:sldMkLst>
      </pc:sldChg>
      <pc:sldChg chg="addSp delSp modSp del mod">
        <pc:chgData name="Vikesh Chugani" userId="9c759398cfaae00f" providerId="LiveId" clId="{07CA10FD-78FC-4FDA-8BEE-577F158A1396}" dt="2024-07-19T13:04:30.093" v="6450" actId="47"/>
        <pc:sldMkLst>
          <pc:docMk/>
          <pc:sldMk cId="2876582666" sldId="1857"/>
        </pc:sldMkLst>
      </pc:sldChg>
      <pc:sldChg chg="addSp delSp modSp new mod modNotesTx">
        <pc:chgData name="Vikesh Chugani" userId="9c759398cfaae00f" providerId="LiveId" clId="{07CA10FD-78FC-4FDA-8BEE-577F158A1396}" dt="2024-08-19T09:42:30.514" v="103667" actId="6549"/>
        <pc:sldMkLst>
          <pc:docMk/>
          <pc:sldMk cId="1138289792" sldId="1858"/>
        </pc:sldMkLst>
      </pc:sldChg>
      <pc:sldChg chg="addSp delSp modSp new mod modNotesTx">
        <pc:chgData name="Vikesh Chugani" userId="9c759398cfaae00f" providerId="LiveId" clId="{07CA10FD-78FC-4FDA-8BEE-577F158A1396}" dt="2024-08-19T10:51:38.945" v="104621" actId="6549"/>
        <pc:sldMkLst>
          <pc:docMk/>
          <pc:sldMk cId="3831877885" sldId="1859"/>
        </pc:sldMkLst>
      </pc:sldChg>
      <pc:sldChg chg="modSp del mod">
        <pc:chgData name="Vikesh Chugani" userId="9c759398cfaae00f" providerId="LiveId" clId="{07CA10FD-78FC-4FDA-8BEE-577F158A1396}" dt="2024-07-19T13:00:05.720" v="4232" actId="47"/>
        <pc:sldMkLst>
          <pc:docMk/>
          <pc:sldMk cId="952671564" sldId="1860"/>
        </pc:sldMkLst>
      </pc:sldChg>
      <pc:sldChg chg="addSp delSp modSp new mod modNotesTx">
        <pc:chgData name="Vikesh Chugani" userId="9c759398cfaae00f" providerId="LiveId" clId="{07CA10FD-78FC-4FDA-8BEE-577F158A1396}" dt="2024-08-12T15:21:55.681" v="78935" actId="20577"/>
        <pc:sldMkLst>
          <pc:docMk/>
          <pc:sldMk cId="1755524343" sldId="1861"/>
        </pc:sldMkLst>
      </pc:sldChg>
      <pc:sldChg chg="addSp delSp modSp new mod modNotesTx">
        <pc:chgData name="Vikesh Chugani" userId="9c759398cfaae00f" providerId="LiveId" clId="{07CA10FD-78FC-4FDA-8BEE-577F158A1396}" dt="2024-08-19T10:55:52.282" v="104857" actId="20577"/>
        <pc:sldMkLst>
          <pc:docMk/>
          <pc:sldMk cId="727476447" sldId="1862"/>
        </pc:sldMkLst>
      </pc:sldChg>
      <pc:sldChg chg="addSp delSp modSp new del mod">
        <pc:chgData name="Vikesh Chugani" userId="9c759398cfaae00f" providerId="LiveId" clId="{07CA10FD-78FC-4FDA-8BEE-577F158A1396}" dt="2024-08-08T16:43:55.814" v="55196" actId="47"/>
        <pc:sldMkLst>
          <pc:docMk/>
          <pc:sldMk cId="1863856400" sldId="1863"/>
        </pc:sldMkLst>
      </pc:sldChg>
      <pc:sldChg chg="addSp delSp modSp new mod ord modNotesTx">
        <pc:chgData name="Vikesh Chugani" userId="9c759398cfaae00f" providerId="LiveId" clId="{07CA10FD-78FC-4FDA-8BEE-577F158A1396}" dt="2024-08-19T11:02:15.843" v="105407" actId="33524"/>
        <pc:sldMkLst>
          <pc:docMk/>
          <pc:sldMk cId="214491966" sldId="1864"/>
        </pc:sldMkLst>
      </pc:sldChg>
      <pc:sldChg chg="modSp mod">
        <pc:chgData name="Vikesh Chugani" userId="9c759398cfaae00f" providerId="LiveId" clId="{07CA10FD-78FC-4FDA-8BEE-577F158A1396}" dt="2024-07-19T15:17:17.640" v="7090"/>
        <pc:sldMkLst>
          <pc:docMk/>
          <pc:sldMk cId="1015200121" sldId="1865"/>
        </pc:sldMkLst>
      </pc:sldChg>
      <pc:sldChg chg="addSp delSp modSp mod modNotesTx">
        <pc:chgData name="Vikesh Chugani" userId="9c759398cfaae00f" providerId="LiveId" clId="{07CA10FD-78FC-4FDA-8BEE-577F158A1396}" dt="2024-08-19T11:05:12.084" v="105482" actId="6549"/>
        <pc:sldMkLst>
          <pc:docMk/>
          <pc:sldMk cId="1353234795" sldId="1866"/>
        </pc:sldMkLst>
      </pc:sldChg>
      <pc:sldChg chg="addSp delSp modSp new del mod">
        <pc:chgData name="Vikesh Chugani" userId="9c759398cfaae00f" providerId="LiveId" clId="{07CA10FD-78FC-4FDA-8BEE-577F158A1396}" dt="2024-07-28T21:42:47.560" v="31530" actId="47"/>
        <pc:sldMkLst>
          <pc:docMk/>
          <pc:sldMk cId="1097553987" sldId="1868"/>
        </pc:sldMkLst>
      </pc:sldChg>
      <pc:sldChg chg="addSp delSp modSp new del mod">
        <pc:chgData name="Vikesh Chugani" userId="9c759398cfaae00f" providerId="LiveId" clId="{07CA10FD-78FC-4FDA-8BEE-577F158A1396}" dt="2024-07-28T21:42:48.079" v="31531" actId="47"/>
        <pc:sldMkLst>
          <pc:docMk/>
          <pc:sldMk cId="3513520408" sldId="1869"/>
        </pc:sldMkLst>
      </pc:sldChg>
      <pc:sldChg chg="addSp delSp modSp new del mod">
        <pc:chgData name="Vikesh Chugani" userId="9c759398cfaae00f" providerId="LiveId" clId="{07CA10FD-78FC-4FDA-8BEE-577F158A1396}" dt="2024-07-28T21:42:48.625" v="31532" actId="47"/>
        <pc:sldMkLst>
          <pc:docMk/>
          <pc:sldMk cId="2315137747" sldId="1870"/>
        </pc:sldMkLst>
      </pc:sldChg>
      <pc:sldChg chg="addSp modSp add del mod">
        <pc:chgData name="Vikesh Chugani" userId="9c759398cfaae00f" providerId="LiveId" clId="{07CA10FD-78FC-4FDA-8BEE-577F158A1396}" dt="2024-07-28T21:42:49.287" v="31533" actId="47"/>
        <pc:sldMkLst>
          <pc:docMk/>
          <pc:sldMk cId="3365398020" sldId="1871"/>
        </pc:sldMkLst>
      </pc:sldChg>
      <pc:sldChg chg="add del">
        <pc:chgData name="Vikesh Chugani" userId="9c759398cfaae00f" providerId="LiveId" clId="{07CA10FD-78FC-4FDA-8BEE-577F158A1396}" dt="2024-07-23T15:36:56.127" v="7293" actId="47"/>
        <pc:sldMkLst>
          <pc:docMk/>
          <pc:sldMk cId="2384868083" sldId="1872"/>
        </pc:sldMkLst>
      </pc:sldChg>
      <pc:sldChg chg="addSp delSp modSp new del mod">
        <pc:chgData name="Vikesh Chugani" userId="9c759398cfaae00f" providerId="LiveId" clId="{07CA10FD-78FC-4FDA-8BEE-577F158A1396}" dt="2024-08-07T13:36:29.963" v="31534" actId="47"/>
        <pc:sldMkLst>
          <pc:docMk/>
          <pc:sldMk cId="2560337621" sldId="1872"/>
        </pc:sldMkLst>
      </pc:sldChg>
      <pc:sldChg chg="modSp new mod">
        <pc:chgData name="Vikesh Chugani" userId="9c759398cfaae00f" providerId="LiveId" clId="{07CA10FD-78FC-4FDA-8BEE-577F158A1396}" dt="2024-07-23T23:12:01.485" v="7978" actId="20577"/>
        <pc:sldMkLst>
          <pc:docMk/>
          <pc:sldMk cId="913717002" sldId="1873"/>
        </pc:sldMkLst>
      </pc:sldChg>
      <pc:sldChg chg="modSp new del mod">
        <pc:chgData name="Vikesh Chugani" userId="9c759398cfaae00f" providerId="LiveId" clId="{07CA10FD-78FC-4FDA-8BEE-577F158A1396}" dt="2024-07-23T16:07:24.002" v="7723" actId="47"/>
        <pc:sldMkLst>
          <pc:docMk/>
          <pc:sldMk cId="1105721019" sldId="1873"/>
        </pc:sldMkLst>
      </pc:sldChg>
      <pc:sldChg chg="add del">
        <pc:chgData name="Vikesh Chugani" userId="9c759398cfaae00f" providerId="LiveId" clId="{07CA10FD-78FC-4FDA-8BEE-577F158A1396}" dt="2024-07-23T15:49:29.648" v="7327" actId="47"/>
        <pc:sldMkLst>
          <pc:docMk/>
          <pc:sldMk cId="1745122611" sldId="1873"/>
        </pc:sldMkLst>
      </pc:sldChg>
      <pc:sldChg chg="delSp modSp mod">
        <pc:chgData name="Vikesh Chugani" userId="9c759398cfaae00f" providerId="LiveId" clId="{07CA10FD-78FC-4FDA-8BEE-577F158A1396}" dt="2024-07-28T20:43:42.936" v="8204" actId="313"/>
        <pc:sldMkLst>
          <pc:docMk/>
          <pc:sldMk cId="1333497614" sldId="1874"/>
        </pc:sldMkLst>
      </pc:sldChg>
      <pc:sldChg chg="add del">
        <pc:chgData name="Vikesh Chugani" userId="9c759398cfaae00f" providerId="LiveId" clId="{07CA10FD-78FC-4FDA-8BEE-577F158A1396}" dt="2024-07-23T15:49:30.158" v="7328" actId="47"/>
        <pc:sldMkLst>
          <pc:docMk/>
          <pc:sldMk cId="2126125013" sldId="1874"/>
        </pc:sldMkLst>
      </pc:sldChg>
      <pc:sldChg chg="delSp modSp del mod ord modShow modNotesTx">
        <pc:chgData name="Vikesh Chugani" userId="9c759398cfaae00f" providerId="LiveId" clId="{07CA10FD-78FC-4FDA-8BEE-577F158A1396}" dt="2024-08-08T18:06:09.117" v="63131" actId="2696"/>
        <pc:sldMkLst>
          <pc:docMk/>
          <pc:sldMk cId="137675830" sldId="1876"/>
        </pc:sldMkLst>
      </pc:sldChg>
      <pc:sldChg chg="delSp modSp mod ord modShow modNotesTx">
        <pc:chgData name="Vikesh Chugani" userId="9c759398cfaae00f" providerId="LiveId" clId="{07CA10FD-78FC-4FDA-8BEE-577F158A1396}" dt="2024-08-15T15:00:57.433" v="102034" actId="20577"/>
        <pc:sldMkLst>
          <pc:docMk/>
          <pc:sldMk cId="135681167" sldId="1877"/>
        </pc:sldMkLst>
      </pc:sldChg>
      <pc:sldChg chg="delSp modSp del mod">
        <pc:chgData name="Vikesh Chugani" userId="9c759398cfaae00f" providerId="LiveId" clId="{07CA10FD-78FC-4FDA-8BEE-577F158A1396}" dt="2024-08-08T17:56:46.695" v="63010" actId="47"/>
        <pc:sldMkLst>
          <pc:docMk/>
          <pc:sldMk cId="3937811203" sldId="1878"/>
        </pc:sldMkLst>
      </pc:sldChg>
      <pc:sldChg chg="addSp delSp modSp add mod modNotesTx">
        <pc:chgData name="Vikesh Chugani" userId="9c759398cfaae00f" providerId="LiveId" clId="{07CA10FD-78FC-4FDA-8BEE-577F158A1396}" dt="2024-08-19T11:07:55.291" v="105607" actId="113"/>
        <pc:sldMkLst>
          <pc:docMk/>
          <pc:sldMk cId="3477707378" sldId="1879"/>
        </pc:sldMkLst>
      </pc:sldChg>
      <pc:sldChg chg="addSp delSp modSp add mod modNotesTx">
        <pc:chgData name="Vikesh Chugani" userId="9c759398cfaae00f" providerId="LiveId" clId="{07CA10FD-78FC-4FDA-8BEE-577F158A1396}" dt="2024-08-13T13:11:08.227" v="85829" actId="313"/>
        <pc:sldMkLst>
          <pc:docMk/>
          <pc:sldMk cId="265919042" sldId="1880"/>
        </pc:sldMkLst>
      </pc:sldChg>
      <pc:sldChg chg="modSp add mod modNotesTx">
        <pc:chgData name="Vikesh Chugani" userId="9c759398cfaae00f" providerId="LiveId" clId="{07CA10FD-78FC-4FDA-8BEE-577F158A1396}" dt="2024-08-19T11:13:23.640" v="105746" actId="20577"/>
        <pc:sldMkLst>
          <pc:docMk/>
          <pc:sldMk cId="1123741503" sldId="1881"/>
        </pc:sldMkLst>
      </pc:sldChg>
      <pc:sldChg chg="addSp delSp modSp add mod ord modShow modNotesTx">
        <pc:chgData name="Vikesh Chugani" userId="9c759398cfaae00f" providerId="LiveId" clId="{07CA10FD-78FC-4FDA-8BEE-577F158A1396}" dt="2024-08-19T11:30:29.552" v="105989" actId="20577"/>
        <pc:sldMkLst>
          <pc:docMk/>
          <pc:sldMk cId="1450417700" sldId="1882"/>
        </pc:sldMkLst>
      </pc:sldChg>
      <pc:sldChg chg="add mod ord modShow">
        <pc:chgData name="Vikesh Chugani" userId="9c759398cfaae00f" providerId="LiveId" clId="{07CA10FD-78FC-4FDA-8BEE-577F158A1396}" dt="2024-08-08T17:29:19.461" v="57061" actId="729"/>
        <pc:sldMkLst>
          <pc:docMk/>
          <pc:sldMk cId="1344727080" sldId="1883"/>
        </pc:sldMkLst>
      </pc:sldChg>
      <pc:sldChg chg="add del">
        <pc:chgData name="Vikesh Chugani" userId="9c759398cfaae00f" providerId="LiveId" clId="{07CA10FD-78FC-4FDA-8BEE-577F158A1396}" dt="2024-07-28T21:41:40.601" v="31528" actId="47"/>
        <pc:sldMkLst>
          <pc:docMk/>
          <pc:sldMk cId="2832478243" sldId="1884"/>
        </pc:sldMkLst>
      </pc:sldChg>
      <pc:sldChg chg="addSp delSp modSp del mod">
        <pc:chgData name="Vikesh Chugani" userId="9c759398cfaae00f" providerId="LiveId" clId="{07CA10FD-78FC-4FDA-8BEE-577F158A1396}" dt="2024-07-28T21:41:42.612" v="31529" actId="47"/>
        <pc:sldMkLst>
          <pc:docMk/>
          <pc:sldMk cId="1863545785" sldId="1885"/>
        </pc:sldMkLst>
      </pc:sldChg>
      <pc:sldChg chg="addSp delSp modSp new mod ord modNotesTx">
        <pc:chgData name="Vikesh Chugani" userId="9c759398cfaae00f" providerId="LiveId" clId="{07CA10FD-78FC-4FDA-8BEE-577F158A1396}" dt="2024-08-19T11:34:15.144" v="105993" actId="313"/>
        <pc:sldMkLst>
          <pc:docMk/>
          <pc:sldMk cId="1772530871" sldId="1886"/>
        </pc:sldMkLst>
      </pc:sldChg>
      <pc:sldChg chg="addSp delSp modSp mod ord">
        <pc:chgData name="Vikesh Chugani" userId="9c759398cfaae00f" providerId="LiveId" clId="{07CA10FD-78FC-4FDA-8BEE-577F158A1396}" dt="2024-08-08T17:58:24.292" v="63064"/>
        <pc:sldMkLst>
          <pc:docMk/>
          <pc:sldMk cId="1319048102" sldId="1888"/>
        </pc:sldMkLst>
      </pc:sldChg>
      <pc:sldChg chg="del">
        <pc:chgData name="Vikesh Chugani" userId="9c759398cfaae00f" providerId="LiveId" clId="{07CA10FD-78FC-4FDA-8BEE-577F158A1396}" dt="2024-08-08T17:47:50.410" v="62913" actId="47"/>
        <pc:sldMkLst>
          <pc:docMk/>
          <pc:sldMk cId="1220155948" sldId="1889"/>
        </pc:sldMkLst>
      </pc:sldChg>
      <pc:sldChg chg="addSp modSp add del mod modShow">
        <pc:chgData name="Vikesh Chugani" userId="9c759398cfaae00f" providerId="LiveId" clId="{07CA10FD-78FC-4FDA-8BEE-577F158A1396}" dt="2024-08-15T15:37:54.499" v="103644" actId="47"/>
        <pc:sldMkLst>
          <pc:docMk/>
          <pc:sldMk cId="1627674210" sldId="1890"/>
        </pc:sldMkLst>
      </pc:sldChg>
      <pc:sldChg chg="addSp delSp modSp add mod modNotesTx">
        <pc:chgData name="Vikesh Chugani" userId="9c759398cfaae00f" providerId="LiveId" clId="{07CA10FD-78FC-4FDA-8BEE-577F158A1396}" dt="2024-08-19T10:33:35.337" v="104156" actId="20577"/>
        <pc:sldMkLst>
          <pc:docMk/>
          <pc:sldMk cId="217827664" sldId="1891"/>
        </pc:sldMkLst>
      </pc:sldChg>
      <pc:sldChg chg="modSp add del mod modShow">
        <pc:chgData name="Vikesh Chugani" userId="9c759398cfaae00f" providerId="LiveId" clId="{07CA10FD-78FC-4FDA-8BEE-577F158A1396}" dt="2024-08-08T17:50:02.366" v="62936" actId="47"/>
        <pc:sldMkLst>
          <pc:docMk/>
          <pc:sldMk cId="469246864" sldId="1892"/>
        </pc:sldMkLst>
      </pc:sldChg>
      <pc:sldChg chg="modSp add mod modShow">
        <pc:chgData name="Vikesh Chugani" userId="9c759398cfaae00f" providerId="LiveId" clId="{07CA10FD-78FC-4FDA-8BEE-577F158A1396}" dt="2024-08-08T17:54:26.032" v="62975" actId="729"/>
        <pc:sldMkLst>
          <pc:docMk/>
          <pc:sldMk cId="1354936174" sldId="1892"/>
        </pc:sldMkLst>
      </pc:sldChg>
      <pc:sldChg chg="new del">
        <pc:chgData name="Vikesh Chugani" userId="9c759398cfaae00f" providerId="LiveId" clId="{07CA10FD-78FC-4FDA-8BEE-577F158A1396}" dt="2024-08-08T15:38:52.890" v="48358" actId="680"/>
        <pc:sldMkLst>
          <pc:docMk/>
          <pc:sldMk cId="2157348845" sldId="1892"/>
        </pc:sldMkLst>
      </pc:sldChg>
      <pc:sldMasterChg chg="addSp modSp modSldLayout">
        <pc:chgData name="Vikesh Chugani" userId="9c759398cfaae00f" providerId="LiveId" clId="{07CA10FD-78FC-4FDA-8BEE-577F158A1396}" dt="2024-07-19T12:30:24.374" v="760"/>
        <pc:sldMasterMkLst>
          <pc:docMk/>
          <pc:sldMasterMk cId="0" sldId="2147483648"/>
        </pc:sldMasterMkLst>
        <pc:sldLayoutChg chg="modSp">
          <pc:chgData name="Vikesh Chugani" userId="9c759398cfaae00f" providerId="LiveId" clId="{07CA10FD-78FC-4FDA-8BEE-577F158A1396}" dt="2024-07-19T12:30:16.108" v="758" actId="735"/>
          <pc:sldLayoutMkLst>
            <pc:docMk/>
            <pc:sldMasterMk cId="0" sldId="2147483648"/>
            <pc:sldLayoutMk cId="2650031198" sldId="2147483660"/>
          </pc:sldLayoutMkLst>
        </pc:sldLayoutChg>
      </pc:sldMasterChg>
      <pc:sldMasterChg chg="modSp del mod delSldLayout modSldLayout">
        <pc:chgData name="Vikesh Chugani" userId="9c759398cfaae00f" providerId="LiveId" clId="{07CA10FD-78FC-4FDA-8BEE-577F158A1396}" dt="2024-07-19T12:33:43.881" v="1216" actId="47"/>
        <pc:sldMasterMkLst>
          <pc:docMk/>
          <pc:sldMasterMk cId="1579033688" sldId="2147483666"/>
        </pc:sldMasterMkLst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462366596" sldId="2147483667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4022219360" sldId="2147483668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633117899" sldId="2147483669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901424272" sldId="2147483670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3597481025" sldId="2147483671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95818451" sldId="2147483672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4171967903" sldId="2147483673"/>
          </pc:sldLayoutMkLst>
        </pc:sldLayoutChg>
        <pc:sldLayoutChg chg="modSp del mod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180363748" sldId="2147483674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573517335" sldId="2147483675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386903512" sldId="2147483676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498638064" sldId="2147483677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515115822" sldId="2147483678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190867172" sldId="2147483679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18509433" sldId="2147483680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900914480" sldId="2147483681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923700162" sldId="2147483682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1082289380" sldId="2147483683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560146609" sldId="2147483684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2655981552" sldId="2147483685"/>
          </pc:sldLayoutMkLst>
        </pc:sldLayoutChg>
        <pc:sldLayoutChg chg="del">
          <pc:chgData name="Vikesh Chugani" userId="9c759398cfaae00f" providerId="LiveId" clId="{07CA10FD-78FC-4FDA-8BEE-577F158A1396}" dt="2024-07-19T12:33:43.881" v="1216" actId="47"/>
          <pc:sldLayoutMkLst>
            <pc:docMk/>
            <pc:sldMasterMk cId="1579033688" sldId="2147483666"/>
            <pc:sldLayoutMk cId="725708943" sldId="2147483686"/>
          </pc:sldLayoutMkLst>
        </pc:sldLayoutChg>
      </pc:sldMasterChg>
      <pc:sldMasterChg chg="modSp del mod delSldLayout modSldLayout">
        <pc:chgData name="Vikesh Chugani" userId="9c759398cfaae00f" providerId="LiveId" clId="{07CA10FD-78FC-4FDA-8BEE-577F158A1396}" dt="2024-07-19T13:04:30.093" v="6450" actId="47"/>
        <pc:sldMasterMkLst>
          <pc:docMk/>
          <pc:sldMasterMk cId="1909122202" sldId="2147483666"/>
        </pc:sldMasterMkLst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71390538" sldId="2147483667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363176023" sldId="2147483668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440102395" sldId="2147483669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955358508" sldId="2147483670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652227891" sldId="2147483671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37795562" sldId="2147483672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828162060" sldId="2147483673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796103398" sldId="2147483674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285610572" sldId="2147483675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834004801" sldId="2147483676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954391817" sldId="2147483677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637555569" sldId="2147483678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2686124459" sldId="2147483679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204601505" sldId="2147483680"/>
          </pc:sldLayoutMkLst>
        </pc:sldLayoutChg>
        <pc:sldLayoutChg chg="addSp delSp modSp del mod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237472523" sldId="2147483681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553034343" sldId="2147483682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306526799" sldId="2147483683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1759473570" sldId="2147483684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3926027830" sldId="2147483685"/>
          </pc:sldLayoutMkLst>
        </pc:sldLayoutChg>
        <pc:sldLayoutChg chg="del">
          <pc:chgData name="Vikesh Chugani" userId="9c759398cfaae00f" providerId="LiveId" clId="{07CA10FD-78FC-4FDA-8BEE-577F158A1396}" dt="2024-07-19T13:04:30.093" v="6450" actId="47"/>
          <pc:sldLayoutMkLst>
            <pc:docMk/>
            <pc:sldMasterMk cId="1909122202" sldId="2147483666"/>
            <pc:sldLayoutMk cId="4225658433" sldId="2147483686"/>
          </pc:sldLayoutMkLst>
        </pc:sldLayoutChg>
      </pc:sldMasterChg>
      <pc:sldMasterChg chg="modSp mod">
        <pc:chgData name="Vikesh Chugani" userId="9c759398cfaae00f" providerId="LiveId" clId="{07CA10FD-78FC-4FDA-8BEE-577F158A1396}" dt="2024-07-19T15:17:17.640" v="7092"/>
        <pc:sldMasterMkLst>
          <pc:docMk/>
          <pc:sldMasterMk cId="2844095810" sldId="2147483666"/>
        </pc:sldMasterMkLst>
      </pc:sldMasterChg>
      <pc:sldMasterChg chg="modSp del mod delSldLayout">
        <pc:chgData name="Vikesh Chugani" userId="9c759398cfaae00f" providerId="LiveId" clId="{07CA10FD-78FC-4FDA-8BEE-577F158A1396}" dt="2024-07-19T13:00:05.720" v="4232" actId="47"/>
        <pc:sldMasterMkLst>
          <pc:docMk/>
          <pc:sldMasterMk cId="2726763676" sldId="2147483687"/>
        </pc:sldMasterMkLst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1594234407" sldId="2147483688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090348757" sldId="2147483689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1707561176" sldId="2147483690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273812931" sldId="2147483691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764694329" sldId="2147483692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058355902" sldId="2147483693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883120690" sldId="2147483694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972699257" sldId="2147483695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982974772" sldId="2147483696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542238232" sldId="2147483697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305458030" sldId="2147483698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475700403" sldId="2147483699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680932538" sldId="2147483700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434194311" sldId="2147483701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042295920" sldId="2147483702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945246015" sldId="2147483703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807967727" sldId="2147483704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514892213" sldId="2147483705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2926450685" sldId="2147483706"/>
          </pc:sldLayoutMkLst>
        </pc:sldLayoutChg>
        <pc:sldLayoutChg chg="del">
          <pc:chgData name="Vikesh Chugani" userId="9c759398cfaae00f" providerId="LiveId" clId="{07CA10FD-78FC-4FDA-8BEE-577F158A1396}" dt="2024-07-19T13:00:05.720" v="4232" actId="47"/>
          <pc:sldLayoutMkLst>
            <pc:docMk/>
            <pc:sldMasterMk cId="2726763676" sldId="2147483687"/>
            <pc:sldLayoutMk cId="3738976418" sldId="2147483707"/>
          </pc:sldLayoutMkLst>
        </pc:sldLayoutChg>
      </pc:sldMasterChg>
      <pc:sldMasterChg chg="add del addSldLayout delSldLayout">
        <pc:chgData name="Vikesh Chugani" userId="9c759398cfaae00f" providerId="LiveId" clId="{07CA10FD-78FC-4FDA-8BEE-577F158A1396}" dt="2024-08-15T15:36:56.919" v="103620" actId="47"/>
        <pc:sldMasterMkLst>
          <pc:docMk/>
          <pc:sldMasterMk cId="2905603714" sldId="2147483687"/>
        </pc:sldMasterMkLst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984721469" sldId="2147483688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446564466" sldId="2147483689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77772682" sldId="2147483690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699606475" sldId="2147483691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335939687" sldId="2147483692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851539813" sldId="2147483693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6355659" sldId="2147483694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709306815" sldId="2147483695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791754848" sldId="2147483696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102353142" sldId="2147483697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739430249" sldId="2147483698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373335450" sldId="2147483699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323031849" sldId="2147483700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2781935230" sldId="2147483701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664837060" sldId="2147483702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1523446" sldId="2147483703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4123585782" sldId="2147483704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090486860" sldId="2147483705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3278099162" sldId="2147483706"/>
          </pc:sldLayoutMkLst>
        </pc:sldLayoutChg>
        <pc:sldLayoutChg chg="add del">
          <pc:chgData name="Vikesh Chugani" userId="9c759398cfaae00f" providerId="LiveId" clId="{07CA10FD-78FC-4FDA-8BEE-577F158A1396}" dt="2024-08-15T15:36:56.919" v="103620" actId="47"/>
          <pc:sldLayoutMkLst>
            <pc:docMk/>
            <pc:sldMasterMk cId="2905603714" sldId="2147483687"/>
            <pc:sldLayoutMk cId="1051220908" sldId="2147483707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08T17:47:53.087" v="62915" actId="47"/>
        <pc:sldMasterMkLst>
          <pc:docMk/>
          <pc:sldMasterMk cId="1589499362" sldId="2147483708"/>
        </pc:sldMasterMkLst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796899449" sldId="2147483709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1342602065" sldId="2147483710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3461493368" sldId="2147483711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795877661" sldId="2147483712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436031103" sldId="2147483713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55797770" sldId="2147483714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49046182" sldId="2147483715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59066943" sldId="2147483716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3117250694" sldId="2147483717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12018610" sldId="2147483718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642323449" sldId="2147483719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990222692" sldId="2147483720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948507090" sldId="2147483721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65225466" sldId="2147483722"/>
          </pc:sldLayoutMkLst>
        </pc:sldLayoutChg>
        <pc:sldLayoutChg chg="del">
          <pc:chgData name="Vikesh Chugani" userId="9c759398cfaae00f" providerId="LiveId" clId="{07CA10FD-78FC-4FDA-8BEE-577F158A1396}" dt="2024-08-08T17:47:53.087" v="62915" actId="47"/>
          <pc:sldLayoutMkLst>
            <pc:docMk/>
            <pc:sldMasterMk cId="1589499362" sldId="2147483708"/>
            <pc:sldLayoutMk cId="2102772483" sldId="2147483723"/>
          </pc:sldLayoutMkLst>
        </pc:sldLayoutChg>
      </pc:sldMasterChg>
      <pc:sldMasterChg chg="modSp del mod delSldLayout">
        <pc:chgData name="Vikesh Chugani" userId="9c759398cfaae00f" providerId="LiveId" clId="{07CA10FD-78FC-4FDA-8BEE-577F158A1396}" dt="2024-07-28T21:41:42.612" v="31529" actId="47"/>
        <pc:sldMasterMkLst>
          <pc:docMk/>
          <pc:sldMasterMk cId="3616899536" sldId="2147483708"/>
        </pc:sldMasterMkLst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982571" sldId="2147483709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191501903" sldId="2147483710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286402473" sldId="2147483711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396297618" sldId="2147483712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852556807" sldId="2147483713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636182432" sldId="2147483714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612976878" sldId="2147483715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07504165" sldId="2147483716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595893908" sldId="2147483717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29470667" sldId="2147483718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1254777" sldId="2147483719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132381043" sldId="2147483720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11942861" sldId="2147483721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657642055" sldId="2147483722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322160517" sldId="2147483723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1543182333" sldId="2147483724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2103882074" sldId="2147483725"/>
          </pc:sldLayoutMkLst>
        </pc:sldLayoutChg>
        <pc:sldLayoutChg chg="del">
          <pc:chgData name="Vikesh Chugani" userId="9c759398cfaae00f" providerId="LiveId" clId="{07CA10FD-78FC-4FDA-8BEE-577F158A1396}" dt="2024-07-28T21:41:42.612" v="31529" actId="47"/>
          <pc:sldLayoutMkLst>
            <pc:docMk/>
            <pc:sldMasterMk cId="3616899536" sldId="2147483708"/>
            <pc:sldLayoutMk cId="3863751195" sldId="2147483726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08T17:47:51.751" v="62914" actId="47"/>
        <pc:sldMasterMkLst>
          <pc:docMk/>
          <pc:sldMasterMk cId="532587465" sldId="2147483724"/>
        </pc:sldMasterMkLst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272593621" sldId="2147483725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79193923" sldId="2147483726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715742150" sldId="2147483727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924340000" sldId="2147483728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840197645" sldId="2147483729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217628071" sldId="2147483730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866977850" sldId="2147483731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852678511" sldId="2147483732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15241841" sldId="2147483733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4063162628" sldId="2147483734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551026082" sldId="2147483735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2938397133" sldId="2147483736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870909899" sldId="2147483737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1425218408" sldId="2147483738"/>
          </pc:sldLayoutMkLst>
        </pc:sldLayoutChg>
        <pc:sldLayoutChg chg="del">
          <pc:chgData name="Vikesh Chugani" userId="9c759398cfaae00f" providerId="LiveId" clId="{07CA10FD-78FC-4FDA-8BEE-577F158A1396}" dt="2024-08-08T17:47:51.751" v="62914" actId="47"/>
          <pc:sldLayoutMkLst>
            <pc:docMk/>
            <pc:sldMasterMk cId="532587465" sldId="2147483724"/>
            <pc:sldLayoutMk cId="3274774741" sldId="2147483739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15T15:37:36.256" v="103640" actId="47"/>
        <pc:sldMasterMkLst>
          <pc:docMk/>
          <pc:sldMasterMk cId="2703253271" sldId="2147483740"/>
        </pc:sldMasterMkLst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726185083" sldId="2147483741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41737317" sldId="2147483742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44292829" sldId="2147483743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604389241" sldId="2147483744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916140126" sldId="2147483745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612067996" sldId="2147483746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01133071" sldId="2147483747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678909295" sldId="2147483748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595852653" sldId="2147483749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199843515" sldId="2147483750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535289117" sldId="2147483751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882273683" sldId="2147483752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1010015842" sldId="2147483753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3042333895" sldId="2147483754"/>
          </pc:sldLayoutMkLst>
        </pc:sldLayoutChg>
        <pc:sldLayoutChg chg="del">
          <pc:chgData name="Vikesh Chugani" userId="9c759398cfaae00f" providerId="LiveId" clId="{07CA10FD-78FC-4FDA-8BEE-577F158A1396}" dt="2024-08-15T15:37:36.256" v="103640" actId="47"/>
          <pc:sldLayoutMkLst>
            <pc:docMk/>
            <pc:sldMasterMk cId="2703253271" sldId="2147483740"/>
            <pc:sldLayoutMk cId="2117573426" sldId="2147483755"/>
          </pc:sldLayoutMkLst>
        </pc:sldLayoutChg>
      </pc:sldMasterChg>
      <pc:sldMasterChg chg="del delSldLayout">
        <pc:chgData name="Vikesh Chugani" userId="9c759398cfaae00f" providerId="LiveId" clId="{07CA10FD-78FC-4FDA-8BEE-577F158A1396}" dt="2024-08-15T15:37:35.079" v="103639" actId="47"/>
        <pc:sldMasterMkLst>
          <pc:docMk/>
          <pc:sldMasterMk cId="245358422" sldId="2147483756"/>
        </pc:sldMasterMkLst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437890987" sldId="2147483757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777729071" sldId="2147483758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973685278" sldId="2147483759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162380284" sldId="2147483760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280060578" sldId="2147483761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4115684009" sldId="2147483762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236782070" sldId="2147483763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594100213" sldId="2147483764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2558476151" sldId="2147483765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64078520" sldId="2147483766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880483168" sldId="2147483767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938978798" sldId="2147483768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19330948" sldId="2147483769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1090319250" sldId="2147483770"/>
          </pc:sldLayoutMkLst>
        </pc:sldLayoutChg>
        <pc:sldLayoutChg chg="del">
          <pc:chgData name="Vikesh Chugani" userId="9c759398cfaae00f" providerId="LiveId" clId="{07CA10FD-78FC-4FDA-8BEE-577F158A1396}" dt="2024-08-15T15:37:35.079" v="103639" actId="47"/>
          <pc:sldLayoutMkLst>
            <pc:docMk/>
            <pc:sldMasterMk cId="245358422" sldId="2147483756"/>
            <pc:sldLayoutMk cId="3629917004" sldId="2147483771"/>
          </pc:sldLayoutMkLst>
        </pc:sldLayoutChg>
      </pc:sldMasterChg>
      <pc:sldMasterChg chg="modSp mod">
        <pc:chgData name="Vikesh Chugani" userId="9c759398cfaae00f" providerId="LiveId" clId="{07CA10FD-78FC-4FDA-8BEE-577F158A1396}" dt="2024-08-15T15:34:55.568" v="103615"/>
        <pc:sldMasterMkLst>
          <pc:docMk/>
          <pc:sldMasterMk cId="533177781" sldId="2147483772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E8C4C6-63C0-4918-B94E-5BD8B58D0F90}" type="datetimeFigureOut">
              <a:rPr lang="en-GB" smtClean="0"/>
              <a:t>26/08/2025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056A1-C206-433D-8407-CA5E6321BC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295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9F57FF-C19F-4C13-8D33-E3160A304BC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022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9F57FF-C19F-4C13-8D33-E3160A304BC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503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056A1-C206-433D-8407-CA5E6321BCE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385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freepik.com/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65003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 userDrawn="1">
          <p15:clr>
            <a:srgbClr val="FBAE40"/>
          </p15:clr>
        </p15:guide>
        <p15:guide id="2" pos="57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180967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12696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299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</p:spTree>
    <p:extLst>
      <p:ext uri="{BB962C8B-B14F-4D97-AF65-F5344CB8AC3E}">
        <p14:creationId xmlns:p14="http://schemas.microsoft.com/office/powerpoint/2010/main" val="165492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9690990" y="4978984"/>
            <a:ext cx="59472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2602150" y="5779400"/>
            <a:ext cx="5862600" cy="1492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35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3200"/>
            </a:lvl1pPr>
            <a:lvl2pPr marL="1828800" lvl="1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2pPr>
            <a:lvl3pPr marL="2743200" lvl="2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3pPr>
            <a:lvl4pPr marL="3657600" lvl="3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4pPr>
            <a:lvl5pPr marL="4572000" lvl="4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5pPr>
            <a:lvl6pPr marL="5486400" lvl="5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6pPr>
            <a:lvl7pPr marL="6400800" lvl="6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7pPr>
            <a:lvl8pPr marL="7315200" lvl="7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8pPr>
            <a:lvl9pPr marL="8229600" lvl="8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9691000" y="5763500"/>
            <a:ext cx="5947200" cy="152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35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3200"/>
            </a:lvl1pPr>
            <a:lvl2pPr marL="1828800" lvl="1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2pPr>
            <a:lvl3pPr marL="2743200" lvl="2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3pPr>
            <a:lvl4pPr marL="3657600" lvl="3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4pPr>
            <a:lvl5pPr marL="4572000" lvl="4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5pPr>
            <a:lvl6pPr marL="5486400" lvl="5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6pPr>
            <a:lvl7pPr marL="6400800" lvl="6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800">
                <a:solidFill>
                  <a:srgbClr val="FFFFFF"/>
                </a:solidFill>
              </a:defRPr>
            </a:lvl7pPr>
            <a:lvl8pPr marL="7315200" lvl="7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2800">
                <a:solidFill>
                  <a:srgbClr val="FFFFFF"/>
                </a:solidFill>
              </a:defRPr>
            </a:lvl8pPr>
            <a:lvl9pPr marL="8229600" lvl="8" indent="-63500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2662138" y="6025150"/>
            <a:ext cx="57426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3200"/>
              </a:spcAft>
              <a:buNone/>
            </a:pPr>
            <a:endParaRPr sz="36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2662138" y="4978984"/>
            <a:ext cx="57426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733400" y="1461300"/>
            <a:ext cx="16417376" cy="3682176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722669" y="6719837"/>
            <a:ext cx="1193838" cy="1792834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12660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2776200" y="1052700"/>
            <a:ext cx="12735600" cy="81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9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2202312" y="506299"/>
            <a:ext cx="15223540" cy="5898358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9493646" y="6606706"/>
            <a:ext cx="2026800" cy="2026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541501" y="1480219"/>
            <a:ext cx="17254650" cy="8178002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740433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541501" y="611912"/>
            <a:ext cx="14344850" cy="7028588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2128350" y="7241950"/>
            <a:ext cx="7015800" cy="121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446075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5232900" y="2974250"/>
            <a:ext cx="7822200" cy="296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00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24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2812400" y="6306950"/>
            <a:ext cx="11004000" cy="339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914400" lvl="0" indent="-685800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828800" lvl="1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2743200" lvl="2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3657600" lvl="3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4572000" lvl="4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5486400" lvl="5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6400800" lvl="6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7315200" lvl="7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8229600" lvl="8" indent="-635000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541501" y="506299"/>
            <a:ext cx="17254650" cy="8178002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917517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86817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9490350" y="5582300"/>
            <a:ext cx="7210200" cy="93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48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24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9490350" y="2711350"/>
            <a:ext cx="7210200" cy="2662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40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541501" y="506298"/>
            <a:ext cx="17407050" cy="8877552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493337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2376830" y="524846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12202760" y="526585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7287542" y="526585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941250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6851942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11767160" y="5929060"/>
            <a:ext cx="4572000" cy="139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541501" y="506298"/>
            <a:ext cx="17254650" cy="8432200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3448603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541501" y="506299"/>
            <a:ext cx="17254650" cy="8178002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2528338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2693938" y="6132758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11900716" y="6132692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7297328" y="6132692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2693938" y="3256116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11900716" y="3261934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7297328" y="3261934"/>
            <a:ext cx="3700800" cy="63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7131728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11735116" y="38255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2524564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7127952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11731342" y="6700626"/>
            <a:ext cx="4032000" cy="108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1271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9337550" y="2589300"/>
            <a:ext cx="7219200" cy="28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9896750" y="5662500"/>
            <a:ext cx="6660000" cy="1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320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541501" y="506298"/>
            <a:ext cx="17254650" cy="8072388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6857233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5361300" y="4151350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5132700" y="3353834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12664050" y="3353834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1417950" y="5482250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8892150" y="5484818"/>
            <a:ext cx="4206000" cy="88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3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12892650" y="4151350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646550" y="6272512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9120750" y="6272512"/>
            <a:ext cx="3748800" cy="94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541501" y="611912"/>
            <a:ext cx="14344850" cy="7028588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0950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847100" y="253172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581300" y="3426250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847100" y="5336282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581300" y="6230836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12059250" y="253172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12059250" y="3426250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12059250" y="5336286"/>
            <a:ext cx="4381800" cy="8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6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12059250" y="6230836"/>
            <a:ext cx="4647600" cy="112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42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541501" y="-1122527"/>
            <a:ext cx="17254650" cy="4381478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1079039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386449" y="501042"/>
            <a:ext cx="17438154" cy="8166288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5044500" y="2172900"/>
            <a:ext cx="8199000" cy="57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32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1208250" y="2113550"/>
            <a:ext cx="16740300" cy="7270300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233514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932226" y="566650"/>
            <a:ext cx="16620976" cy="8116276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4876776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732001" y="506298"/>
            <a:ext cx="17126794" cy="8211876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2224856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580600" y="438248"/>
            <a:ext cx="17374448" cy="9299676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1776460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5353800" y="1491750"/>
            <a:ext cx="7580400" cy="143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12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5966602" y="3092250"/>
            <a:ext cx="6354600" cy="21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5811300" y="6585150"/>
            <a:ext cx="6665400" cy="14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24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24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24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13296776" y="5143500"/>
            <a:ext cx="2379600" cy="2379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5" name="Google Shape;285;p24"/>
          <p:cNvSpPr/>
          <p:nvPr/>
        </p:nvSpPr>
        <p:spPr>
          <a:xfrm>
            <a:off x="4412550" y="6954200"/>
            <a:ext cx="1144200" cy="1144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6" name="Google Shape;286;p24"/>
          <p:cNvSpPr/>
          <p:nvPr/>
        </p:nvSpPr>
        <p:spPr>
          <a:xfrm>
            <a:off x="16602300" y="8096300"/>
            <a:ext cx="587400" cy="588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7" name="Google Shape;287;p24"/>
          <p:cNvSpPr/>
          <p:nvPr/>
        </p:nvSpPr>
        <p:spPr>
          <a:xfrm>
            <a:off x="12870750" y="545798"/>
            <a:ext cx="1144200" cy="1145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8" name="Google Shape;288;p24"/>
          <p:cNvSpPr/>
          <p:nvPr/>
        </p:nvSpPr>
        <p:spPr>
          <a:xfrm>
            <a:off x="1773900" y="2128948"/>
            <a:ext cx="1144200" cy="1145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89" name="Google Shape;289;p24"/>
          <p:cNvSpPr/>
          <p:nvPr/>
        </p:nvSpPr>
        <p:spPr>
          <a:xfrm>
            <a:off x="2818950" y="4756050"/>
            <a:ext cx="1040400" cy="1041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90" name="Google Shape;290;p24"/>
          <p:cNvSpPr/>
          <p:nvPr/>
        </p:nvSpPr>
        <p:spPr>
          <a:xfrm>
            <a:off x="16337576" y="3355326"/>
            <a:ext cx="1040400" cy="1041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291" name="Google Shape;291;p24"/>
          <p:cNvSpPr/>
          <p:nvPr/>
        </p:nvSpPr>
        <p:spPr>
          <a:xfrm>
            <a:off x="1265040" y="3092262"/>
            <a:ext cx="587400" cy="588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</p:spTree>
    <p:extLst>
      <p:ext uri="{BB962C8B-B14F-4D97-AF65-F5344CB8AC3E}">
        <p14:creationId xmlns:p14="http://schemas.microsoft.com/office/powerpoint/2010/main" val="2749709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932226" y="566650"/>
            <a:ext cx="16620976" cy="8116276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991115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732001" y="506298"/>
            <a:ext cx="17126794" cy="8211876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511424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203700" y="243900"/>
            <a:ext cx="17880600" cy="97992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541501" y="-1122527"/>
            <a:ext cx="17254650" cy="992805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6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600"/>
            </a:p>
          </p:txBody>
        </p:sp>
      </p:grpSp>
    </p:spTree>
    <p:extLst>
      <p:ext uri="{BB962C8B-B14F-4D97-AF65-F5344CB8AC3E}">
        <p14:creationId xmlns:p14="http://schemas.microsoft.com/office/powerpoint/2010/main" val="2045502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6459200" cy="12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914400" y="2400300"/>
            <a:ext cx="16459200" cy="678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914400" lvl="0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828800" lvl="1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2743200" lvl="2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3657600" lvl="3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4572000" lvl="4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5486400" lvl="5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6400800" lvl="6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7315200" lvl="7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8229600" lvl="8" indent="-685800" algn="l" rtl="0">
              <a:spcBef>
                <a:spcPts val="72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1336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64750" y="161400"/>
            <a:ext cx="17961600" cy="99642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623400" y="890050"/>
            <a:ext cx="17041200" cy="12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1405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8288000" cy="24612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6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304800" y="-152400"/>
            <a:ext cx="16367400" cy="155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64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84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271300" y="1343750"/>
            <a:ext cx="16367400" cy="111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2600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4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485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57DD098-FD83-F8FC-DC2A-27EF6E2B1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0882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54" imgH="454" progId="TCLayout.ActiveDocument.1">
                  <p:embed/>
                </p:oleObj>
              </mc:Choice>
              <mc:Fallback>
                <p:oleObj name="Diapositiva de think-cell" r:id="rId16" imgW="454" imgH="45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DD098-FD83-F8FC-DC2A-27EF6E2B1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CF168B63-A5B2-7A4A-121E-58F90DDD983D}"/>
              </a:ext>
            </a:extLst>
          </p:cNvPr>
          <p:cNvSpPr/>
          <p:nvPr userDrawn="1"/>
        </p:nvSpPr>
        <p:spPr>
          <a:xfrm>
            <a:off x="12221817" y="9040070"/>
            <a:ext cx="5037483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8" name="Freeform 3">
            <a:extLst>
              <a:ext uri="{FF2B5EF4-FFF2-40B4-BE49-F238E27FC236}">
                <a16:creationId xmlns:a16="http://schemas.microsoft.com/office/drawing/2014/main" id="{1876BB7E-02D3-321F-9472-A6FA2C9EDF7D}"/>
              </a:ext>
            </a:extLst>
          </p:cNvPr>
          <p:cNvSpPr/>
          <p:nvPr userDrawn="1"/>
        </p:nvSpPr>
        <p:spPr>
          <a:xfrm>
            <a:off x="1028700" y="9040070"/>
            <a:ext cx="2257552" cy="951609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85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 userDrawn="1">
          <p15:clr>
            <a:srgbClr val="F26B43"/>
          </p15:clr>
        </p15:guide>
        <p15:guide id="2" pos="57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343479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5" imgW="444" imgH="443" progId="TCLayout.ActiveDocument.1">
                  <p:embed/>
                </p:oleObj>
              </mc:Choice>
              <mc:Fallback>
                <p:oleObj name="Diapositiva de think-cell" r:id="rId25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426450" y="890050"/>
            <a:ext cx="154350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426450" y="2304950"/>
            <a:ext cx="154350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198749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227347"/>
              </p:ext>
            </p:ext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794094" y="1"/>
            <a:ext cx="13857244" cy="1553406"/>
          </a:xfrm>
        </p:spPr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</a:rPr>
              <a:t>Prioritise one market niche based on the following three </a:t>
            </a:r>
            <a:r>
              <a:rPr lang="en-GB" sz="3600">
                <a:solidFill>
                  <a:srgbClr val="333089"/>
                </a:solidFill>
                <a:latin typeface="Titillium Web Bold"/>
              </a:rPr>
              <a:t>main criteria </a:t>
            </a:r>
            <a:endParaRPr lang="en-GB" sz="3600" dirty="0">
              <a:solidFill>
                <a:srgbClr val="333089"/>
              </a:solidFill>
              <a:latin typeface="Titillium Web Bold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rgbClr val="4C4C4C"/>
                </a:solidFill>
                <a:cs typeface="Arial" panose="020B0604020202020204" pitchFamily="34" charset="0"/>
              </a:rPr>
              <a:t>Prioritisation and use cases</a:t>
            </a:r>
          </a:p>
        </p:txBody>
      </p:sp>
      <p:sp>
        <p:nvSpPr>
          <p:cNvPr id="188" name="Rechteck 78">
            <a:extLst>
              <a:ext uri="{FF2B5EF4-FFF2-40B4-BE49-F238E27FC236}">
                <a16:creationId xmlns:a16="http://schemas.microsoft.com/office/drawing/2014/main" id="{D991BFD1-38B5-F0C4-FB5A-EDF9E0548F3C}"/>
              </a:ext>
            </a:extLst>
          </p:cNvPr>
          <p:cNvSpPr/>
          <p:nvPr/>
        </p:nvSpPr>
        <p:spPr>
          <a:xfrm>
            <a:off x="4233308" y="2726533"/>
            <a:ext cx="2966922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segment 1</a:t>
            </a:r>
          </a:p>
        </p:txBody>
      </p:sp>
      <p:sp>
        <p:nvSpPr>
          <p:cNvPr id="189" name="Rechteck 79">
            <a:extLst>
              <a:ext uri="{FF2B5EF4-FFF2-40B4-BE49-F238E27FC236}">
                <a16:creationId xmlns:a16="http://schemas.microsoft.com/office/drawing/2014/main" id="{4F4492AA-2755-9802-4F8E-466AC053F823}"/>
              </a:ext>
            </a:extLst>
          </p:cNvPr>
          <p:cNvSpPr/>
          <p:nvPr/>
        </p:nvSpPr>
        <p:spPr>
          <a:xfrm>
            <a:off x="10435930" y="2726533"/>
            <a:ext cx="3135534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3</a:t>
            </a:r>
          </a:p>
        </p:txBody>
      </p:sp>
      <p:sp>
        <p:nvSpPr>
          <p:cNvPr id="197" name="Rechteck 85">
            <a:extLst>
              <a:ext uri="{FF2B5EF4-FFF2-40B4-BE49-F238E27FC236}">
                <a16:creationId xmlns:a16="http://schemas.microsoft.com/office/drawing/2014/main" id="{26E6B745-AD19-6824-9C4A-379EB9C25962}"/>
              </a:ext>
            </a:extLst>
          </p:cNvPr>
          <p:cNvSpPr/>
          <p:nvPr/>
        </p:nvSpPr>
        <p:spPr>
          <a:xfrm>
            <a:off x="4233308" y="5386734"/>
            <a:ext cx="2966927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8" name="Rechteck 87">
            <a:extLst>
              <a:ext uri="{FF2B5EF4-FFF2-40B4-BE49-F238E27FC236}">
                <a16:creationId xmlns:a16="http://schemas.microsoft.com/office/drawing/2014/main" id="{80CDF3BC-AD70-148E-9433-4A370AD87826}"/>
              </a:ext>
            </a:extLst>
          </p:cNvPr>
          <p:cNvSpPr/>
          <p:nvPr/>
        </p:nvSpPr>
        <p:spPr>
          <a:xfrm>
            <a:off x="7244722" y="5377184"/>
            <a:ext cx="3111559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5" name="Rechteck 66">
            <a:extLst>
              <a:ext uri="{FF2B5EF4-FFF2-40B4-BE49-F238E27FC236}">
                <a16:creationId xmlns:a16="http://schemas.microsoft.com/office/drawing/2014/main" id="{C44B278D-181C-8E16-4CA2-F90B473AC237}"/>
              </a:ext>
            </a:extLst>
          </p:cNvPr>
          <p:cNvSpPr/>
          <p:nvPr/>
        </p:nvSpPr>
        <p:spPr>
          <a:xfrm>
            <a:off x="1079257" y="5373224"/>
            <a:ext cx="2933625" cy="1174942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713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Use case</a:t>
            </a:r>
          </a:p>
        </p:txBody>
      </p:sp>
      <p:sp>
        <p:nvSpPr>
          <p:cNvPr id="206" name="Textfeld 80">
            <a:extLst>
              <a:ext uri="{FF2B5EF4-FFF2-40B4-BE49-F238E27FC236}">
                <a16:creationId xmlns:a16="http://schemas.microsoft.com/office/drawing/2014/main" id="{0E7D30A5-EC3C-16D3-B372-373404C91098}"/>
              </a:ext>
            </a:extLst>
          </p:cNvPr>
          <p:cNvSpPr txBox="1"/>
          <p:nvPr/>
        </p:nvSpPr>
        <p:spPr>
          <a:xfrm>
            <a:off x="4192590" y="5349712"/>
            <a:ext cx="3077498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marL="0" marR="0" lvl="0" indent="0" algn="ctr" defTabSz="13713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</a:rPr>
              <a:t>Use case description 1</a:t>
            </a:r>
          </a:p>
        </p:txBody>
      </p:sp>
      <p:sp>
        <p:nvSpPr>
          <p:cNvPr id="208" name="Rechteck 94">
            <a:extLst>
              <a:ext uri="{FF2B5EF4-FFF2-40B4-BE49-F238E27FC236}">
                <a16:creationId xmlns:a16="http://schemas.microsoft.com/office/drawing/2014/main" id="{C282A11E-C4B0-C399-E924-A0C7D85D6623}"/>
              </a:ext>
            </a:extLst>
          </p:cNvPr>
          <p:cNvSpPr/>
          <p:nvPr/>
        </p:nvSpPr>
        <p:spPr>
          <a:xfrm>
            <a:off x="10466446" y="4772004"/>
            <a:ext cx="3105022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3</a:t>
            </a:r>
          </a:p>
        </p:txBody>
      </p:sp>
      <p:sp>
        <p:nvSpPr>
          <p:cNvPr id="213" name="Rechteck 99">
            <a:extLst>
              <a:ext uri="{FF2B5EF4-FFF2-40B4-BE49-F238E27FC236}">
                <a16:creationId xmlns:a16="http://schemas.microsoft.com/office/drawing/2014/main" id="{9A0B4B0B-7C10-C63D-FE25-9214DD8B35CA}"/>
              </a:ext>
            </a:extLst>
          </p:cNvPr>
          <p:cNvSpPr/>
          <p:nvPr/>
        </p:nvSpPr>
        <p:spPr>
          <a:xfrm>
            <a:off x="10446814" y="5386734"/>
            <a:ext cx="3124653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2" name="Rechteck 113">
            <a:extLst>
              <a:ext uri="{FF2B5EF4-FFF2-40B4-BE49-F238E27FC236}">
                <a16:creationId xmlns:a16="http://schemas.microsoft.com/office/drawing/2014/main" id="{3559D346-3343-7D22-CBB2-533A0C048E94}"/>
              </a:ext>
            </a:extLst>
          </p:cNvPr>
          <p:cNvSpPr/>
          <p:nvPr/>
        </p:nvSpPr>
        <p:spPr>
          <a:xfrm>
            <a:off x="13661999" y="5386734"/>
            <a:ext cx="3298991" cy="1129279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6" name="Textfeld 120">
            <a:extLst>
              <a:ext uri="{FF2B5EF4-FFF2-40B4-BE49-F238E27FC236}">
                <a16:creationId xmlns:a16="http://schemas.microsoft.com/office/drawing/2014/main" id="{76991C3F-6F36-9093-678F-2F6BFA2BD8F5}"/>
              </a:ext>
            </a:extLst>
          </p:cNvPr>
          <p:cNvSpPr txBox="1"/>
          <p:nvPr/>
        </p:nvSpPr>
        <p:spPr>
          <a:xfrm>
            <a:off x="13596236" y="5416950"/>
            <a:ext cx="3364755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4</a:t>
            </a:r>
          </a:p>
        </p:txBody>
      </p:sp>
      <p:sp>
        <p:nvSpPr>
          <p:cNvPr id="187" name="Rechteck 18">
            <a:extLst>
              <a:ext uri="{FF2B5EF4-FFF2-40B4-BE49-F238E27FC236}">
                <a16:creationId xmlns:a16="http://schemas.microsoft.com/office/drawing/2014/main" id="{D8151708-CE93-46EB-8F13-A37F19A4F152}"/>
              </a:ext>
            </a:extLst>
          </p:cNvPr>
          <p:cNvSpPr/>
          <p:nvPr/>
        </p:nvSpPr>
        <p:spPr>
          <a:xfrm>
            <a:off x="4262444" y="4752636"/>
            <a:ext cx="2937790" cy="489092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niche 1</a:t>
            </a:r>
          </a:p>
        </p:txBody>
      </p:sp>
      <p:sp>
        <p:nvSpPr>
          <p:cNvPr id="186" name="Rechteck 17">
            <a:extLst>
              <a:ext uri="{FF2B5EF4-FFF2-40B4-BE49-F238E27FC236}">
                <a16:creationId xmlns:a16="http://schemas.microsoft.com/office/drawing/2014/main" id="{9482A306-6EEE-7CA4-9F75-9FF400D10164}"/>
              </a:ext>
            </a:extLst>
          </p:cNvPr>
          <p:cNvSpPr/>
          <p:nvPr/>
        </p:nvSpPr>
        <p:spPr>
          <a:xfrm>
            <a:off x="7234186" y="4763048"/>
            <a:ext cx="3129013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2</a:t>
            </a:r>
          </a:p>
        </p:txBody>
      </p:sp>
      <p:sp>
        <p:nvSpPr>
          <p:cNvPr id="217" name="Rechteck 107">
            <a:extLst>
              <a:ext uri="{FF2B5EF4-FFF2-40B4-BE49-F238E27FC236}">
                <a16:creationId xmlns:a16="http://schemas.microsoft.com/office/drawing/2014/main" id="{86EF35B1-CDE2-679D-1DC5-4B8F69033414}"/>
              </a:ext>
            </a:extLst>
          </p:cNvPr>
          <p:cNvSpPr/>
          <p:nvPr/>
        </p:nvSpPr>
        <p:spPr>
          <a:xfrm>
            <a:off x="13674714" y="4768598"/>
            <a:ext cx="3286277" cy="489539"/>
          </a:xfrm>
          <a:prstGeom prst="rect">
            <a:avLst/>
          </a:prstGeom>
          <a:solidFill>
            <a:srgbClr val="B4C800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niche 4</a:t>
            </a:r>
          </a:p>
        </p:txBody>
      </p:sp>
      <p:sp>
        <p:nvSpPr>
          <p:cNvPr id="35" name="Textfeld 104">
            <a:extLst>
              <a:ext uri="{FF2B5EF4-FFF2-40B4-BE49-F238E27FC236}">
                <a16:creationId xmlns:a16="http://schemas.microsoft.com/office/drawing/2014/main" id="{AE0E9783-D7DC-7A58-2939-E293B21ABA31}"/>
              </a:ext>
            </a:extLst>
          </p:cNvPr>
          <p:cNvSpPr txBox="1"/>
          <p:nvPr/>
        </p:nvSpPr>
        <p:spPr>
          <a:xfrm>
            <a:off x="10516667" y="5389736"/>
            <a:ext cx="3054797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3</a:t>
            </a:r>
          </a:p>
        </p:txBody>
      </p:sp>
      <p:sp>
        <p:nvSpPr>
          <p:cNvPr id="36" name="Textfeld 93">
            <a:extLst>
              <a:ext uri="{FF2B5EF4-FFF2-40B4-BE49-F238E27FC236}">
                <a16:creationId xmlns:a16="http://schemas.microsoft.com/office/drawing/2014/main" id="{0C588386-2350-F80B-959F-C54AABB464F4}"/>
              </a:ext>
            </a:extLst>
          </p:cNvPr>
          <p:cNvSpPr txBox="1"/>
          <p:nvPr/>
        </p:nvSpPr>
        <p:spPr>
          <a:xfrm>
            <a:off x="7200234" y="5384840"/>
            <a:ext cx="3121985" cy="346249"/>
          </a:xfrm>
          <a:prstGeom prst="rect">
            <a:avLst/>
          </a:prstGeom>
          <a:noFill/>
        </p:spPr>
        <p:txBody>
          <a:bodyPr wrap="square" lIns="53988" rIns="53988" rtlCol="0">
            <a:spAutoFit/>
          </a:bodyPr>
          <a:lstStyle/>
          <a:p>
            <a:pPr lvl="0" algn="ctr" defTabSz="1371326">
              <a:defRPr/>
            </a:pPr>
            <a:r>
              <a:rPr lang="en-GB" sz="1650" kern="0" dirty="0">
                <a:solidFill>
                  <a:srgbClr val="4B4B4B"/>
                </a:solidFill>
              </a:rPr>
              <a:t>Use case description 2</a:t>
            </a:r>
          </a:p>
        </p:txBody>
      </p:sp>
      <p:sp>
        <p:nvSpPr>
          <p:cNvPr id="37" name="Rechteck 78">
            <a:extLst>
              <a:ext uri="{FF2B5EF4-FFF2-40B4-BE49-F238E27FC236}">
                <a16:creationId xmlns:a16="http://schemas.microsoft.com/office/drawing/2014/main" id="{53862FA2-5D99-7D85-D0F5-8ECF123169EC}"/>
              </a:ext>
            </a:extLst>
          </p:cNvPr>
          <p:cNvSpPr/>
          <p:nvPr/>
        </p:nvSpPr>
        <p:spPr>
          <a:xfrm>
            <a:off x="7272960" y="2726533"/>
            <a:ext cx="3090240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2</a:t>
            </a:r>
          </a:p>
        </p:txBody>
      </p:sp>
      <p:sp>
        <p:nvSpPr>
          <p:cNvPr id="38" name="Rechteck 79">
            <a:extLst>
              <a:ext uri="{FF2B5EF4-FFF2-40B4-BE49-F238E27FC236}">
                <a16:creationId xmlns:a16="http://schemas.microsoft.com/office/drawing/2014/main" id="{209D493C-F55D-2DEC-33BA-B29D3B333932}"/>
              </a:ext>
            </a:extLst>
          </p:cNvPr>
          <p:cNvSpPr/>
          <p:nvPr/>
        </p:nvSpPr>
        <p:spPr>
          <a:xfrm>
            <a:off x="13629410" y="2726533"/>
            <a:ext cx="3331582" cy="431948"/>
          </a:xfrm>
          <a:prstGeom prst="rect">
            <a:avLst/>
          </a:prstGeom>
          <a:solidFill>
            <a:srgbClr val="0A7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1632426">
              <a:defRPr/>
            </a:pPr>
            <a:r>
              <a:rPr lang="en-GB" kern="0" dirty="0">
                <a:solidFill>
                  <a:srgbClr val="FFFFFF"/>
                </a:solidFill>
              </a:rPr>
              <a:t>Market segment 4</a:t>
            </a:r>
          </a:p>
        </p:txBody>
      </p:sp>
      <p:sp>
        <p:nvSpPr>
          <p:cNvPr id="7" name="Rechteck 18">
            <a:extLst>
              <a:ext uri="{FF2B5EF4-FFF2-40B4-BE49-F238E27FC236}">
                <a16:creationId xmlns:a16="http://schemas.microsoft.com/office/drawing/2014/main" id="{AF1D6D72-CCF1-B9CD-2609-538EEA5E448F}"/>
              </a:ext>
            </a:extLst>
          </p:cNvPr>
          <p:cNvSpPr/>
          <p:nvPr/>
        </p:nvSpPr>
        <p:spPr>
          <a:xfrm>
            <a:off x="1075092" y="4752636"/>
            <a:ext cx="2937790" cy="489092"/>
          </a:xfrm>
          <a:prstGeom prst="rect">
            <a:avLst/>
          </a:prstGeom>
          <a:noFill/>
          <a:ln w="254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1632426"/>
            <a:r>
              <a:rPr lang="en-GB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rPr>
              <a:t>Product/Service name</a:t>
            </a:r>
          </a:p>
        </p:txBody>
      </p:sp>
      <p:sp>
        <p:nvSpPr>
          <p:cNvPr id="5" name="Rechteck 21">
            <a:extLst>
              <a:ext uri="{FF2B5EF4-FFF2-40B4-BE49-F238E27FC236}">
                <a16:creationId xmlns:a16="http://schemas.microsoft.com/office/drawing/2014/main" id="{D470A497-CE59-1AAF-3E9E-0E3C64FB0D77}"/>
              </a:ext>
            </a:extLst>
          </p:cNvPr>
          <p:cNvSpPr/>
          <p:nvPr/>
        </p:nvSpPr>
        <p:spPr>
          <a:xfrm>
            <a:off x="4233306" y="8136451"/>
            <a:ext cx="2966924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ctr" anchorCtr="0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hteck 25">
            <a:extLst>
              <a:ext uri="{FF2B5EF4-FFF2-40B4-BE49-F238E27FC236}">
                <a16:creationId xmlns:a16="http://schemas.microsoft.com/office/drawing/2014/main" id="{2176D9DC-E416-6C3B-55B6-5FC93F860014}"/>
              </a:ext>
            </a:extLst>
          </p:cNvPr>
          <p:cNvSpPr/>
          <p:nvPr/>
        </p:nvSpPr>
        <p:spPr>
          <a:xfrm>
            <a:off x="7259758" y="8136451"/>
            <a:ext cx="3103441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ctr" anchorCtr="0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hteck 39">
            <a:extLst>
              <a:ext uri="{FF2B5EF4-FFF2-40B4-BE49-F238E27FC236}">
                <a16:creationId xmlns:a16="http://schemas.microsoft.com/office/drawing/2014/main" id="{96349E85-CC71-AEA4-D0E4-E70604D620BB}"/>
              </a:ext>
            </a:extLst>
          </p:cNvPr>
          <p:cNvSpPr/>
          <p:nvPr/>
        </p:nvSpPr>
        <p:spPr>
          <a:xfrm>
            <a:off x="1095978" y="8136451"/>
            <a:ext cx="2933625" cy="59386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isk Assessment</a:t>
            </a:r>
          </a:p>
        </p:txBody>
      </p:sp>
      <p:pic>
        <p:nvPicPr>
          <p:cNvPr id="9" name="Grafik 81">
            <a:extLst>
              <a:ext uri="{FF2B5EF4-FFF2-40B4-BE49-F238E27FC236}">
                <a16:creationId xmlns:a16="http://schemas.microsoft.com/office/drawing/2014/main" id="{2EAB1262-A17A-0298-E42B-46999AD609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74573" y="8224955"/>
            <a:ext cx="429706" cy="429706"/>
          </a:xfrm>
          <a:prstGeom prst="rect">
            <a:avLst/>
          </a:prstGeom>
        </p:spPr>
      </p:pic>
      <p:sp>
        <p:nvSpPr>
          <p:cNvPr id="10" name="Rechteck 36">
            <a:extLst>
              <a:ext uri="{FF2B5EF4-FFF2-40B4-BE49-F238E27FC236}">
                <a16:creationId xmlns:a16="http://schemas.microsoft.com/office/drawing/2014/main" id="{9A5A799F-7485-670D-95A7-3C03107D75FE}"/>
              </a:ext>
            </a:extLst>
          </p:cNvPr>
          <p:cNvSpPr/>
          <p:nvPr/>
        </p:nvSpPr>
        <p:spPr>
          <a:xfrm>
            <a:off x="1073771" y="6658709"/>
            <a:ext cx="2933625" cy="59386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oblem-Solution-Fit</a:t>
            </a:r>
          </a:p>
        </p:txBody>
      </p:sp>
      <p:sp>
        <p:nvSpPr>
          <p:cNvPr id="11" name="Rechteck 125">
            <a:extLst>
              <a:ext uri="{FF2B5EF4-FFF2-40B4-BE49-F238E27FC236}">
                <a16:creationId xmlns:a16="http://schemas.microsoft.com/office/drawing/2014/main" id="{7AA93678-9946-F7B4-1218-3A8722716A2C}"/>
              </a:ext>
            </a:extLst>
          </p:cNvPr>
          <p:cNvSpPr/>
          <p:nvPr/>
        </p:nvSpPr>
        <p:spPr>
          <a:xfrm>
            <a:off x="1095978" y="7397577"/>
            <a:ext cx="2933625" cy="59386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ket Potential</a:t>
            </a:r>
          </a:p>
        </p:txBody>
      </p:sp>
      <p:sp>
        <p:nvSpPr>
          <p:cNvPr id="12" name="Rechteck 96">
            <a:extLst>
              <a:ext uri="{FF2B5EF4-FFF2-40B4-BE49-F238E27FC236}">
                <a16:creationId xmlns:a16="http://schemas.microsoft.com/office/drawing/2014/main" id="{4820B57E-AA6F-2C27-064D-10ABC716F6EE}"/>
              </a:ext>
            </a:extLst>
          </p:cNvPr>
          <p:cNvSpPr/>
          <p:nvPr/>
        </p:nvSpPr>
        <p:spPr>
          <a:xfrm>
            <a:off x="10446810" y="8136451"/>
            <a:ext cx="3124654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Grafik 97">
            <a:extLst>
              <a:ext uri="{FF2B5EF4-FFF2-40B4-BE49-F238E27FC236}">
                <a16:creationId xmlns:a16="http://schemas.microsoft.com/office/drawing/2014/main" id="{0195D013-F04A-94F0-2E45-342506598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15231" y="8218531"/>
            <a:ext cx="438848" cy="429706"/>
          </a:xfrm>
          <a:prstGeom prst="rect">
            <a:avLst/>
          </a:prstGeom>
        </p:spPr>
      </p:pic>
      <p:sp>
        <p:nvSpPr>
          <p:cNvPr id="14" name="Rechteck 109">
            <a:extLst>
              <a:ext uri="{FF2B5EF4-FFF2-40B4-BE49-F238E27FC236}">
                <a16:creationId xmlns:a16="http://schemas.microsoft.com/office/drawing/2014/main" id="{BC144DC3-B99B-FD3E-38AE-450159B5D645}"/>
              </a:ext>
            </a:extLst>
          </p:cNvPr>
          <p:cNvSpPr/>
          <p:nvPr/>
        </p:nvSpPr>
        <p:spPr>
          <a:xfrm>
            <a:off x="13656543" y="8136451"/>
            <a:ext cx="3304447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Grafik 103">
            <a:extLst>
              <a:ext uri="{FF2B5EF4-FFF2-40B4-BE49-F238E27FC236}">
                <a16:creationId xmlns:a16="http://schemas.microsoft.com/office/drawing/2014/main" id="{54036BD2-D3A8-A52F-A23E-A295D19D1C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2626" y="8224955"/>
            <a:ext cx="438848" cy="429706"/>
          </a:xfrm>
          <a:prstGeom prst="rect">
            <a:avLst/>
          </a:prstGeom>
        </p:spPr>
      </p:pic>
      <p:sp>
        <p:nvSpPr>
          <p:cNvPr id="16" name="Rechteck 122">
            <a:extLst>
              <a:ext uri="{FF2B5EF4-FFF2-40B4-BE49-F238E27FC236}">
                <a16:creationId xmlns:a16="http://schemas.microsoft.com/office/drawing/2014/main" id="{DDDD7061-886E-3004-DF44-C6C02AFD0149}"/>
              </a:ext>
            </a:extLst>
          </p:cNvPr>
          <p:cNvSpPr/>
          <p:nvPr/>
        </p:nvSpPr>
        <p:spPr>
          <a:xfrm>
            <a:off x="4233307" y="7397577"/>
            <a:ext cx="2966925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ctr" anchorCtr="0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Rechteck 123">
            <a:extLst>
              <a:ext uri="{FF2B5EF4-FFF2-40B4-BE49-F238E27FC236}">
                <a16:creationId xmlns:a16="http://schemas.microsoft.com/office/drawing/2014/main" id="{991A4F81-EBBF-F34B-F73D-371D10A4E3DA}"/>
              </a:ext>
            </a:extLst>
          </p:cNvPr>
          <p:cNvSpPr/>
          <p:nvPr/>
        </p:nvSpPr>
        <p:spPr>
          <a:xfrm>
            <a:off x="7259758" y="7390349"/>
            <a:ext cx="3103441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ctr" anchorCtr="0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afik 129">
            <a:extLst>
              <a:ext uri="{FF2B5EF4-FFF2-40B4-BE49-F238E27FC236}">
                <a16:creationId xmlns:a16="http://schemas.microsoft.com/office/drawing/2014/main" id="{020EC477-083B-81B2-C28A-08B6630B51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070002" y="7483276"/>
            <a:ext cx="438848" cy="438848"/>
          </a:xfrm>
          <a:prstGeom prst="rect">
            <a:avLst/>
          </a:prstGeom>
        </p:spPr>
      </p:pic>
      <p:pic>
        <p:nvPicPr>
          <p:cNvPr id="19" name="Grafik 95">
            <a:extLst>
              <a:ext uri="{FF2B5EF4-FFF2-40B4-BE49-F238E27FC236}">
                <a16:creationId xmlns:a16="http://schemas.microsoft.com/office/drawing/2014/main" id="{3A63287B-8146-39CA-5051-E9D49AF51F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2626" y="7487847"/>
            <a:ext cx="438848" cy="429706"/>
          </a:xfrm>
          <a:prstGeom prst="rect">
            <a:avLst/>
          </a:prstGeom>
        </p:spPr>
      </p:pic>
      <p:sp>
        <p:nvSpPr>
          <p:cNvPr id="20" name="Rechteck 101">
            <a:extLst>
              <a:ext uri="{FF2B5EF4-FFF2-40B4-BE49-F238E27FC236}">
                <a16:creationId xmlns:a16="http://schemas.microsoft.com/office/drawing/2014/main" id="{0231921E-7256-2C03-EBE4-680992ACBF48}"/>
              </a:ext>
            </a:extLst>
          </p:cNvPr>
          <p:cNvSpPr/>
          <p:nvPr/>
        </p:nvSpPr>
        <p:spPr>
          <a:xfrm>
            <a:off x="10446809" y="7397577"/>
            <a:ext cx="3124654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Rechteck 115">
            <a:extLst>
              <a:ext uri="{FF2B5EF4-FFF2-40B4-BE49-F238E27FC236}">
                <a16:creationId xmlns:a16="http://schemas.microsoft.com/office/drawing/2014/main" id="{31AA83CE-CE94-D178-45F7-B373E38F22B2}"/>
              </a:ext>
            </a:extLst>
          </p:cNvPr>
          <p:cNvSpPr/>
          <p:nvPr/>
        </p:nvSpPr>
        <p:spPr>
          <a:xfrm>
            <a:off x="13656543" y="7397577"/>
            <a:ext cx="3304447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Rechteck 16">
            <a:extLst>
              <a:ext uri="{FF2B5EF4-FFF2-40B4-BE49-F238E27FC236}">
                <a16:creationId xmlns:a16="http://schemas.microsoft.com/office/drawing/2014/main" id="{48572789-5A9D-99D7-102F-BF833C7FA6C7}"/>
              </a:ext>
            </a:extLst>
          </p:cNvPr>
          <p:cNvSpPr/>
          <p:nvPr/>
        </p:nvSpPr>
        <p:spPr>
          <a:xfrm>
            <a:off x="4233308" y="6658709"/>
            <a:ext cx="2966927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Rechteck 40">
            <a:extLst>
              <a:ext uri="{FF2B5EF4-FFF2-40B4-BE49-F238E27FC236}">
                <a16:creationId xmlns:a16="http://schemas.microsoft.com/office/drawing/2014/main" id="{E5ECE014-0603-C01A-8E06-596136767BEB}"/>
              </a:ext>
            </a:extLst>
          </p:cNvPr>
          <p:cNvSpPr/>
          <p:nvPr/>
        </p:nvSpPr>
        <p:spPr>
          <a:xfrm>
            <a:off x="7259758" y="6669568"/>
            <a:ext cx="3103441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ctr" anchorCtr="0"/>
          <a:lstStyle/>
          <a:p>
            <a:pPr marL="0" marR="0" lvl="0" indent="0" algn="ctr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4" name="Grafik 103">
            <a:extLst>
              <a:ext uri="{FF2B5EF4-FFF2-40B4-BE49-F238E27FC236}">
                <a16:creationId xmlns:a16="http://schemas.microsoft.com/office/drawing/2014/main" id="{B54CD948-7AFF-8D6C-81AF-89CB33144B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0239" y="6726867"/>
            <a:ext cx="438848" cy="429706"/>
          </a:xfrm>
          <a:prstGeom prst="rect">
            <a:avLst/>
          </a:prstGeom>
        </p:spPr>
      </p:pic>
      <p:pic>
        <p:nvPicPr>
          <p:cNvPr id="25" name="Grafik 128">
            <a:extLst>
              <a:ext uri="{FF2B5EF4-FFF2-40B4-BE49-F238E27FC236}">
                <a16:creationId xmlns:a16="http://schemas.microsoft.com/office/drawing/2014/main" id="{7ED8E46E-F85C-B8CD-0B46-20D90B033A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9268" y="6769819"/>
            <a:ext cx="438848" cy="438848"/>
          </a:xfrm>
          <a:prstGeom prst="rect">
            <a:avLst/>
          </a:prstGeom>
        </p:spPr>
      </p:pic>
      <p:sp>
        <p:nvSpPr>
          <p:cNvPr id="26" name="Rechteck 98">
            <a:extLst>
              <a:ext uri="{FF2B5EF4-FFF2-40B4-BE49-F238E27FC236}">
                <a16:creationId xmlns:a16="http://schemas.microsoft.com/office/drawing/2014/main" id="{32EB01B1-7440-121A-BE64-3A49F9C45D4A}"/>
              </a:ext>
            </a:extLst>
          </p:cNvPr>
          <p:cNvSpPr/>
          <p:nvPr/>
        </p:nvSpPr>
        <p:spPr>
          <a:xfrm>
            <a:off x="10446809" y="6658709"/>
            <a:ext cx="3124654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Rechteck 112">
            <a:extLst>
              <a:ext uri="{FF2B5EF4-FFF2-40B4-BE49-F238E27FC236}">
                <a16:creationId xmlns:a16="http://schemas.microsoft.com/office/drawing/2014/main" id="{5A8F8B42-58B0-A7A3-A705-D914828F67EC}"/>
              </a:ext>
            </a:extLst>
          </p:cNvPr>
          <p:cNvSpPr/>
          <p:nvPr/>
        </p:nvSpPr>
        <p:spPr>
          <a:xfrm>
            <a:off x="13656543" y="6658709"/>
            <a:ext cx="3304447" cy="593863"/>
          </a:xfrm>
          <a:prstGeom prst="rect">
            <a:avLst/>
          </a:prstGeom>
          <a:noFill/>
          <a:ln w="9525" cap="flat" cmpd="sng" algn="ctr">
            <a:solidFill>
              <a:srgbClr val="37AADC">
                <a:lumMod val="50000"/>
              </a:srgbClr>
            </a:solidFill>
            <a:prstDash val="solid"/>
          </a:ln>
          <a:effectLst/>
        </p:spPr>
        <p:txBody>
          <a:bodyPr lIns="215950" tIns="53988" rIns="53988" rtlCol="0" anchor="t" anchorCtr="0"/>
          <a:lstStyle/>
          <a:p>
            <a:pPr marL="0" marR="0" lvl="0" indent="0" defTabSz="16324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8" name="Grafik 84">
            <a:extLst>
              <a:ext uri="{FF2B5EF4-FFF2-40B4-BE49-F238E27FC236}">
                <a16:creationId xmlns:a16="http://schemas.microsoft.com/office/drawing/2014/main" id="{2874698B-2BEA-D2B4-1401-7E7F14FF43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03473" y="6769819"/>
            <a:ext cx="438848" cy="438848"/>
          </a:xfrm>
          <a:prstGeom prst="rect">
            <a:avLst/>
          </a:prstGeom>
        </p:spPr>
      </p:pic>
      <p:pic>
        <p:nvPicPr>
          <p:cNvPr id="29" name="Grafik 84">
            <a:extLst>
              <a:ext uri="{FF2B5EF4-FFF2-40B4-BE49-F238E27FC236}">
                <a16:creationId xmlns:a16="http://schemas.microsoft.com/office/drawing/2014/main" id="{BA24B8E5-BCA5-6438-3568-05F2557B2E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84861" y="6769819"/>
            <a:ext cx="438848" cy="438848"/>
          </a:xfrm>
          <a:prstGeom prst="rect">
            <a:avLst/>
          </a:prstGeom>
        </p:spPr>
      </p:pic>
      <p:pic>
        <p:nvPicPr>
          <p:cNvPr id="30" name="Grafik 128">
            <a:extLst>
              <a:ext uri="{FF2B5EF4-FFF2-40B4-BE49-F238E27FC236}">
                <a16:creationId xmlns:a16="http://schemas.microsoft.com/office/drawing/2014/main" id="{655B1F40-7A67-F252-A0C6-8BE7A28D2F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099056" y="6769819"/>
            <a:ext cx="438848" cy="438848"/>
          </a:xfrm>
          <a:prstGeom prst="rect">
            <a:avLst/>
          </a:prstGeom>
        </p:spPr>
      </p:pic>
      <p:pic>
        <p:nvPicPr>
          <p:cNvPr id="31" name="Grafik 84">
            <a:extLst>
              <a:ext uri="{FF2B5EF4-FFF2-40B4-BE49-F238E27FC236}">
                <a16:creationId xmlns:a16="http://schemas.microsoft.com/office/drawing/2014/main" id="{4F5529D4-E6B4-A6FF-B638-036865AC80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03473" y="7493079"/>
            <a:ext cx="438848" cy="438848"/>
          </a:xfrm>
          <a:prstGeom prst="rect">
            <a:avLst/>
          </a:prstGeom>
        </p:spPr>
      </p:pic>
      <p:pic>
        <p:nvPicPr>
          <p:cNvPr id="32" name="Grafik 84">
            <a:extLst>
              <a:ext uri="{FF2B5EF4-FFF2-40B4-BE49-F238E27FC236}">
                <a16:creationId xmlns:a16="http://schemas.microsoft.com/office/drawing/2014/main" id="{0F13A424-C340-88EB-76D4-D9AD17F754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84861" y="7493079"/>
            <a:ext cx="438848" cy="438848"/>
          </a:xfrm>
          <a:prstGeom prst="rect">
            <a:avLst/>
          </a:prstGeom>
        </p:spPr>
      </p:pic>
      <p:pic>
        <p:nvPicPr>
          <p:cNvPr id="33" name="Grafik 84">
            <a:extLst>
              <a:ext uri="{FF2B5EF4-FFF2-40B4-BE49-F238E27FC236}">
                <a16:creationId xmlns:a16="http://schemas.microsoft.com/office/drawing/2014/main" id="{0567FC92-999C-FECA-3997-86749118EF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7943" y="7493079"/>
            <a:ext cx="438848" cy="438848"/>
          </a:xfrm>
          <a:prstGeom prst="rect">
            <a:avLst/>
          </a:prstGeom>
        </p:spPr>
      </p:pic>
      <p:pic>
        <p:nvPicPr>
          <p:cNvPr id="34" name="Grafik 84">
            <a:extLst>
              <a:ext uri="{FF2B5EF4-FFF2-40B4-BE49-F238E27FC236}">
                <a16:creationId xmlns:a16="http://schemas.microsoft.com/office/drawing/2014/main" id="{6D61DB67-030B-CD88-AC1F-5875896F3D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19331" y="7493079"/>
            <a:ext cx="438848" cy="438848"/>
          </a:xfrm>
          <a:prstGeom prst="rect">
            <a:avLst/>
          </a:prstGeom>
        </p:spPr>
      </p:pic>
      <p:pic>
        <p:nvPicPr>
          <p:cNvPr id="39" name="Grafik 128">
            <a:extLst>
              <a:ext uri="{FF2B5EF4-FFF2-40B4-BE49-F238E27FC236}">
                <a16:creationId xmlns:a16="http://schemas.microsoft.com/office/drawing/2014/main" id="{4740586E-E659-20F0-A6B4-CF2CD3CDD9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9907" y="8222073"/>
            <a:ext cx="438848" cy="43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55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roduct Name: ___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13020" y="1388442"/>
            <a:ext cx="7917959" cy="237571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oduct explanation: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…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218674"/>
              </p:ext>
            </p:extLst>
          </p:nvPr>
        </p:nvGraphicFramePr>
        <p:xfrm>
          <a:off x="617503" y="4132894"/>
          <a:ext cx="7917958" cy="486255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18608">
                  <a:extLst>
                    <a:ext uri="{9D8B030D-6E8A-4147-A177-3AD203B41FA5}">
                      <a16:colId xmlns:a16="http://schemas.microsoft.com/office/drawing/2014/main" val="3840107742"/>
                    </a:ext>
                  </a:extLst>
                </a:gridCol>
                <a:gridCol w="5399350">
                  <a:extLst>
                    <a:ext uri="{9D8B030D-6E8A-4147-A177-3AD203B41FA5}">
                      <a16:colId xmlns:a16="http://schemas.microsoft.com/office/drawing/2014/main" val="1525360064"/>
                    </a:ext>
                  </a:extLst>
                </a:gridCol>
              </a:tblGrid>
              <a:tr h="507572">
                <a:tc gridSpan="2">
                  <a:txBody>
                    <a:bodyPr/>
                    <a:lstStyle/>
                    <a:p>
                      <a:pPr rtl="0"/>
                      <a:r>
                        <a:rPr lang="en-GB" sz="27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Market definition and segmentation: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8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26805"/>
                  </a:ext>
                </a:extLst>
              </a:tr>
              <a:tr h="690872">
                <a:tc>
                  <a:txBody>
                    <a:bodyPr/>
                    <a:lstStyle/>
                    <a:p>
                      <a:pPr rtl="0"/>
                      <a:r>
                        <a:rPr lang="en-GB" sz="20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Total marke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0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  <a:sym typeface="Calibri" panose="020F0502020204030204" pitchFamily="34" charset="0"/>
                      </a:endParaRP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988987"/>
                  </a:ext>
                </a:extLst>
              </a:tr>
              <a:tr h="690872">
                <a:tc>
                  <a:txBody>
                    <a:bodyPr/>
                    <a:lstStyle/>
                    <a:p>
                      <a:pPr rtl="0"/>
                      <a:r>
                        <a:rPr lang="en-GB" sz="20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Total addressable marke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  <a:sym typeface="Calibri" panose="020F0502020204030204" pitchFamily="34" charset="0"/>
                      </a:endParaRP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929833"/>
                  </a:ext>
                </a:extLst>
              </a:tr>
              <a:tr h="1903475">
                <a:tc>
                  <a:txBody>
                    <a:bodyPr/>
                    <a:lstStyle/>
                    <a:p>
                      <a:pPr rtl="0"/>
                      <a:r>
                        <a:rPr lang="en-GB" sz="20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Possible market segments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  <a:sym typeface="Calibri" panose="020F0502020204030204" pitchFamily="34" charset="0"/>
                      </a:endParaRP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49119"/>
                  </a:ext>
                </a:extLst>
              </a:tr>
              <a:tr h="972873">
                <a:tc>
                  <a:txBody>
                    <a:bodyPr/>
                    <a:lstStyle/>
                    <a:p>
                      <a:pPr rtl="0"/>
                      <a:r>
                        <a:rPr lang="en-GB" sz="20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Selected market segmen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0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  <a:sym typeface="Calibri" panose="020F0502020204030204" pitchFamily="34" charset="0"/>
                      </a:endParaRP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171721"/>
                  </a:ext>
                </a:extLst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9538624" y="1424102"/>
            <a:ext cx="7919967" cy="785975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ket estimation </a:t>
            </a:r>
          </a:p>
          <a:p>
            <a:endParaRPr lang="en-GB" sz="2699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000" b="1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s found/used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: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000" b="1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ssumptions made</a:t>
            </a:r>
            <a:r>
              <a:rPr lang="en-GB" sz="20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: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000" b="1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sult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: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Estimated market result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: ….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Growth rate: 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.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jor players (competitors/suppliers): 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.</a:t>
            </a:r>
          </a:p>
          <a:p>
            <a:pPr marL="885739" lvl="1" indent="-428539">
              <a:buFont typeface="Wingdings" panose="05000000000000000000" pitchFamily="2" charset="2"/>
              <a:buChar char="§"/>
            </a:pPr>
            <a:r>
              <a:rPr lang="en-GB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Key trends: 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…</a:t>
            </a:r>
          </a:p>
        </p:txBody>
      </p:sp>
      <p:sp>
        <p:nvSpPr>
          <p:cNvPr id="9" name="Ellipse 8"/>
          <p:cNvSpPr/>
          <p:nvPr/>
        </p:nvSpPr>
        <p:spPr>
          <a:xfrm>
            <a:off x="343052" y="517146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10" name="Ellipse 9"/>
          <p:cNvSpPr/>
          <p:nvPr/>
        </p:nvSpPr>
        <p:spPr>
          <a:xfrm>
            <a:off x="343052" y="1145440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11" name="Ellipse 10"/>
          <p:cNvSpPr/>
          <p:nvPr/>
        </p:nvSpPr>
        <p:spPr>
          <a:xfrm>
            <a:off x="347535" y="3889894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12" name="Ellipse 11"/>
          <p:cNvSpPr/>
          <p:nvPr/>
        </p:nvSpPr>
        <p:spPr>
          <a:xfrm>
            <a:off x="9268657" y="1181100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7540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135196" y="0"/>
            <a:ext cx="9279196" cy="102870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14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60"/>
                </a:lnSpc>
              </a:pPr>
              <a:endParaRPr sz="1400"/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12221818" y="9040070"/>
            <a:ext cx="5037484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1028700" y="9040071"/>
            <a:ext cx="2257552" cy="951610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646604" y="2695966"/>
            <a:ext cx="7580400" cy="14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defTabSz="1828800">
              <a:buClr>
                <a:srgbClr val="36338C"/>
              </a:buClr>
              <a:defRPr/>
            </a:pPr>
            <a:r>
              <a:rPr lang="en-GB" sz="6200" kern="0">
                <a:solidFill>
                  <a:srgbClr val="36338C"/>
                </a:solidFill>
              </a:rPr>
              <a:t>Contact Us!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1259504" y="4562266"/>
            <a:ext cx="6354600" cy="25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defTabSz="1828800">
              <a:buClr>
                <a:srgbClr val="161620"/>
              </a:buClr>
              <a:defRPr/>
            </a:pPr>
            <a:r>
              <a:rPr lang="en-US" sz="3200" kern="0" dirty="0">
                <a:solidFill>
                  <a:srgbClr val="36338C"/>
                </a:solidFill>
              </a:rPr>
              <a:t>Do you have any questions?</a:t>
            </a: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r>
              <a:rPr lang="en-US" sz="3400" kern="0" dirty="0">
                <a:solidFill>
                  <a:srgbClr val="36338C"/>
                </a:solidFill>
              </a:rPr>
              <a:t>teamup@eitfood.eu</a:t>
            </a:r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2848E517-CCE1-4392-AB25-272EC7491AA4}"/>
              </a:ext>
            </a:extLst>
          </p:cNvPr>
          <p:cNvSpPr/>
          <p:nvPr/>
        </p:nvSpPr>
        <p:spPr>
          <a:xfrm>
            <a:off x="11803986" y="2987828"/>
            <a:ext cx="3758304" cy="3758304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3600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3.81178040761418701621E+00&quot;&gt;&lt;m_msothmcolidx val=&quot;0&quot;/&gt;&lt;m_rgb r=&quot;37&quot; g=&quot;AA&quot; b=&quot;DC&quot;/&gt;&lt;/elem&gt;&lt;elem m_fUsage=&quot;2.12493167752346989730E+00&quot;&gt;&lt;m_msothmcolidx val=&quot;0&quot;/&gt;&lt;m_rgb r=&quot;1F&quot; g=&quot;84&quot; b=&quot;B0&quot;/&gt;&lt;/elem&gt;&lt;elem m_fUsage=&quot;1.99587291449175907587E+00&quot;&gt;&lt;m_msothmcolidx val=&quot;0&quot;/&gt;&lt;m_rgb r=&quot;B6&quot; g=&quot;CA&quot; b=&quot;00&quot;/&gt;&lt;/elem&gt;&lt;elem m_fUsage=&quot;1.41412783157099997133E+00&quot;&gt;&lt;m_msothmcolidx val=&quot;0&quot;/&gt;&lt;m_rgb r=&quot;0A&quot; g=&quot;73&quot; b=&quot;B4&quot;/&gt;&lt;/elem&gt;&lt;elem m_fUsage=&quot;7.17897987691853145531E-02&quot;&gt;&lt;m_msothmcolidx val=&quot;0&quot;/&gt;&lt;m_rgb r=&quot;5A&quot; g=&quot;64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5</TotalTime>
  <Words>146</Words>
  <Application>Microsoft Office PowerPoint</Application>
  <PresentationFormat>Personalizado</PresentationFormat>
  <Paragraphs>52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6" baseType="lpstr">
      <vt:lpstr>Libre Franklin</vt:lpstr>
      <vt:lpstr>Poppins ExtraBold</vt:lpstr>
      <vt:lpstr>Open Sans</vt:lpstr>
      <vt:lpstr>Titillium Web Bold</vt:lpstr>
      <vt:lpstr>Raleway Black</vt:lpstr>
      <vt:lpstr>Calibri</vt:lpstr>
      <vt:lpstr>Arial</vt:lpstr>
      <vt:lpstr>Wingdings</vt:lpstr>
      <vt:lpstr>Titillium Web</vt:lpstr>
      <vt:lpstr>Aptos</vt:lpstr>
      <vt:lpstr>Office Theme</vt:lpstr>
      <vt:lpstr>Management System Planner by Slidesgo</vt:lpstr>
      <vt:lpstr>Diapositiva de think-cell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39</cp:revision>
  <dcterms:created xsi:type="dcterms:W3CDTF">2006-08-16T00:00:00Z</dcterms:created>
  <dcterms:modified xsi:type="dcterms:W3CDTF">2025-08-26T07:33:14Z</dcterms:modified>
  <dc:identifier>DAGIHpOa55U</dc:identifier>
</cp:coreProperties>
</file>